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7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6"/>
  </p:sldMasterIdLst>
  <p:notesMasterIdLst>
    <p:notesMasterId r:id="rId19"/>
  </p:notesMasterIdLst>
  <p:handoutMasterIdLst>
    <p:handoutMasterId r:id="rId20"/>
  </p:handoutMasterIdLst>
  <p:sldIdLst>
    <p:sldId id="751" r:id="rId7"/>
    <p:sldId id="736" r:id="rId8"/>
    <p:sldId id="737" r:id="rId9"/>
    <p:sldId id="742" r:id="rId10"/>
    <p:sldId id="747" r:id="rId11"/>
    <p:sldId id="741" r:id="rId12"/>
    <p:sldId id="761" r:id="rId13"/>
    <p:sldId id="745" r:id="rId14"/>
    <p:sldId id="758" r:id="rId15"/>
    <p:sldId id="759" r:id="rId16"/>
    <p:sldId id="757" r:id="rId17"/>
    <p:sldId id="738" r:id="rId18"/>
  </p:sldIdLst>
  <p:sldSz cx="12192000" cy="6858000"/>
  <p:notesSz cx="6797675" cy="9928225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E6F55AF-A2AE-4C08-8483-CE1E13F97491}">
          <p14:sldIdLst>
            <p14:sldId id="751"/>
            <p14:sldId id="736"/>
            <p14:sldId id="737"/>
            <p14:sldId id="742"/>
            <p14:sldId id="747"/>
            <p14:sldId id="741"/>
          </p14:sldIdLst>
        </p14:section>
        <p14:section name="Раздел без заголовка" id="{74039792-A944-4E76-868E-E871545A395A}">
          <p14:sldIdLst>
            <p14:sldId id="761"/>
            <p14:sldId id="745"/>
            <p14:sldId id="758"/>
            <p14:sldId id="759"/>
            <p14:sldId id="757"/>
            <p14:sldId id="73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Шлитер Татьяна Юрьевна" initials="ШТЮ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BFBFB"/>
    <a:srgbClr val="008E22"/>
    <a:srgbClr val="797600"/>
    <a:srgbClr val="BFBD00"/>
    <a:srgbClr val="004A12"/>
    <a:srgbClr val="00D633"/>
    <a:srgbClr val="93FFAD"/>
    <a:srgbClr val="00BC2D"/>
    <a:srgbClr val="00B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607" autoAdjust="0"/>
    <p:restoredTop sz="94625" autoAdjust="0"/>
  </p:normalViewPr>
  <p:slideViewPr>
    <p:cSldViewPr snapToGrid="0" showGuides="1">
      <p:cViewPr varScale="1">
        <p:scale>
          <a:sx n="106" d="100"/>
          <a:sy n="106" d="100"/>
        </p:scale>
        <p:origin x="642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02838063439065E-2"/>
          <c:y val="0.141602634467618"/>
          <c:w val="0.88021702838063443"/>
          <c:h val="0.7167947310647639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570951585976628"/>
                  <c:y val="2.1953896816684962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209-4DAD-8964-50544C69E9E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48831385642737896"/>
                  <c:y val="2.1953896816684962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209-4DAD-8964-50544C69E9E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84.2</c:v>
                </c:pt>
                <c:pt idx="1">
                  <c:v>170.986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209-4DAD-8964-50544C69E9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50461192"/>
        <c:axId val="250459232"/>
      </c:barChart>
      <c:catAx>
        <c:axId val="25046119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50459232"/>
        <c:crosses val="min"/>
        <c:auto val="0"/>
        <c:lblAlgn val="ctr"/>
        <c:lblOffset val="100"/>
        <c:noMultiLvlLbl val="0"/>
      </c:catAx>
      <c:valAx>
        <c:axId val="250459232"/>
        <c:scaling>
          <c:orientation val="minMax"/>
          <c:max val="170.9869999999999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504611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271062271062272E-2"/>
          <c:y val="0.23626373626373626"/>
          <c:w val="0.74139194139194142"/>
          <c:h val="0.5274725274725274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5567765567765567"/>
                  <c:y val="3.663003663003663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046-4936-96C0-6384BDB6274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44.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046-4936-96C0-6384BDB627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50459624"/>
        <c:axId val="250462760"/>
      </c:barChart>
      <c:catAx>
        <c:axId val="25045962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50462760"/>
        <c:crosses val="min"/>
        <c:auto val="0"/>
        <c:lblAlgn val="ctr"/>
        <c:lblOffset val="100"/>
        <c:noMultiLvlLbl val="0"/>
      </c:catAx>
      <c:valAx>
        <c:axId val="250462760"/>
        <c:scaling>
          <c:orientation val="minMax"/>
          <c:max val="44.7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504596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49329758713138"/>
          <c:y val="0.22872340425531915"/>
          <c:w val="0.46327077747989276"/>
          <c:h val="0.5425531914893616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2064343163538872"/>
                  <c:y val="3.5460992907801418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C41-4121-BED2-4D0E928C94E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3823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C41-4121-BED2-4D0E928C94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50463544"/>
        <c:axId val="247026760"/>
      </c:barChart>
      <c:catAx>
        <c:axId val="25046354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47026760"/>
        <c:crosses val="min"/>
        <c:auto val="0"/>
        <c:lblAlgn val="ctr"/>
        <c:lblOffset val="100"/>
        <c:noMultiLvlLbl val="0"/>
      </c:catAx>
      <c:valAx>
        <c:axId val="247026760"/>
        <c:scaling>
          <c:orientation val="minMax"/>
          <c:max val="3823.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504635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00804289544236"/>
          <c:y val="0.23201438848920863"/>
          <c:w val="0.26809651474530832"/>
          <c:h val="0.5359712230215827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230563002680965"/>
                  <c:y val="3.5971223021582736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8D2-491E-AAA2-69C629ADCC1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88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8D2-491E-AAA2-69C629ADCC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47020488"/>
        <c:axId val="247022840"/>
      </c:barChart>
      <c:catAx>
        <c:axId val="24702048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47022840"/>
        <c:crosses val="min"/>
        <c:auto val="0"/>
        <c:lblAlgn val="ctr"/>
        <c:lblOffset val="100"/>
        <c:noMultiLvlLbl val="0"/>
      </c:catAx>
      <c:valAx>
        <c:axId val="247022840"/>
        <c:scaling>
          <c:orientation val="minMax"/>
          <c:max val="1882.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47020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01627486437613E-2"/>
          <c:y val="0.2179054054054054"/>
          <c:w val="0.8309222423146474"/>
          <c:h val="0.564189189189189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7468354430379744"/>
                  <c:y val="3.378378378378378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9D2-44DC-ABDB-976D6F3973D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86.787000000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9D2-44DC-ABDB-976D6F3973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4462296"/>
        <c:axId val="244020824"/>
      </c:barChart>
      <c:catAx>
        <c:axId val="31446229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44020824"/>
        <c:crosses val="min"/>
        <c:auto val="0"/>
        <c:lblAlgn val="ctr"/>
        <c:lblOffset val="100"/>
        <c:noMultiLvlLbl val="0"/>
      </c:catAx>
      <c:valAx>
        <c:axId val="244020824"/>
        <c:scaling>
          <c:orientation val="minMax"/>
          <c:max val="86.78700000000000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144622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82774049217001E-2"/>
          <c:y val="2.9082774049217001E-2"/>
          <c:w val="0.94183445190156601"/>
          <c:h val="0.9418344519015660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80808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1D4F-4FEE-B23F-0B51B9133114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D4F-4FEE-B23F-0B51B9133114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1D4F-4FEE-B23F-0B51B9133114}"/>
              </c:ext>
            </c:extLst>
          </c:dPt>
          <c:dPt>
            <c:idx val="3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D4F-4FEE-B23F-0B51B9133114}"/>
              </c:ext>
            </c:extLst>
          </c:dPt>
          <c:dPt>
            <c:idx val="4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1D4F-4FEE-B23F-0B51B9133114}"/>
              </c:ext>
            </c:extLst>
          </c:dPt>
          <c:dPt>
            <c:idx val="5"/>
            <c:bubble3D val="0"/>
            <c:spPr>
              <a:solidFill>
                <a:srgbClr val="DFE5EF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1D4F-4FEE-B23F-0B51B9133114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58.436940966010731</c:v>
                </c:pt>
                <c:pt idx="1">
                  <c:v>6.491502683363148</c:v>
                </c:pt>
                <c:pt idx="2">
                  <c:v>2.9405187835420392</c:v>
                </c:pt>
                <c:pt idx="3">
                  <c:v>24.745080500894453</c:v>
                </c:pt>
                <c:pt idx="4">
                  <c:v>7.1399821109123431</c:v>
                </c:pt>
                <c:pt idx="5">
                  <c:v>0.2459749552772808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1D4F-4FEE-B23F-0B51B91331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4622030237581E-2"/>
          <c:y val="0.18235294117647058"/>
          <c:w val="0.95507559395248376"/>
          <c:h val="0.6911764705882352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019607843137255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42D-4DAF-924B-1BC1293B9E5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3921568627450980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42D-4DAF-924B-1BC1293B9E5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"/>
                  <c:y val="-0.3872549019607843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42D-4DAF-924B-1BC1293B9E5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882.82</c:v>
                </c:pt>
                <c:pt idx="1">
                  <c:v>1832.67</c:v>
                </c:pt>
                <c:pt idx="2">
                  <c:v>1804.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242D-4DAF-924B-1BC1293B9E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9923432"/>
        <c:axId val="449920688"/>
      </c:barChart>
      <c:catAx>
        <c:axId val="4499234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49920688"/>
        <c:crosses val="min"/>
        <c:auto val="0"/>
        <c:lblAlgn val="ctr"/>
        <c:lblOffset val="100"/>
        <c:noMultiLvlLbl val="0"/>
      </c:catAx>
      <c:valAx>
        <c:axId val="449920688"/>
        <c:scaling>
          <c:orientation val="minMax"/>
          <c:max val="1882.8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499234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52057167605024E-2"/>
          <c:y val="0.17222222222222222"/>
          <c:w val="0.95495885664789948"/>
          <c:h val="0.70833333333333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074074074074073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00E-48AF-AF57-6324E7B731C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3759259259259259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00E-48AF-AF57-6324E7B731C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"/>
                  <c:y val="-0.3564814814814814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400E-48AF-AF57-6324E7B731C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9.38</c:v>
                </c:pt>
                <c:pt idx="1">
                  <c:v>26.803000000000001</c:v>
                </c:pt>
                <c:pt idx="2">
                  <c:v>25.14477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400E-48AF-AF57-6324E7B731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9926960"/>
        <c:axId val="449923824"/>
      </c:barChart>
      <c:catAx>
        <c:axId val="4499269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49923824"/>
        <c:crosses val="min"/>
        <c:auto val="0"/>
        <c:lblAlgn val="ctr"/>
        <c:lblOffset val="100"/>
        <c:noMultiLvlLbl val="0"/>
      </c:catAx>
      <c:valAx>
        <c:axId val="449923824"/>
        <c:scaling>
          <c:orientation val="minMax"/>
          <c:max val="29.3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499269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11.04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11.04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4006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5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64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4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781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2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4754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7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982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2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355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9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38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6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2543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5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437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8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2678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2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5707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73D65E33-BA15-4EA9-8902-2CCA09C138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1999" y="0"/>
            <a:ext cx="6350001" cy="6858000"/>
          </a:xfrm>
          <a:prstGeom prst="rect">
            <a:avLst/>
          </a:prstGeom>
        </p:spPr>
      </p:pic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3748905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4728392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accent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7BF148AC-0540-4140-826E-D8A069924931}"/>
              </a:ext>
            </a:extLst>
          </p:cNvPr>
          <p:cNvSpPr/>
          <p:nvPr userDrawn="1"/>
        </p:nvSpPr>
        <p:spPr>
          <a:xfrm>
            <a:off x="7172961" y="0"/>
            <a:ext cx="501904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8000"/>
                </a:srgbClr>
              </a:gs>
              <a:gs pos="50000">
                <a:srgbClr val="000000">
                  <a:alpha val="0"/>
                </a:srgbClr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5" b="21818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xmlns="" id="{821E6D0C-E0F7-4B7E-AD91-5196AA0965F0}"/>
              </a:ext>
            </a:extLst>
          </p:cNvPr>
          <p:cNvGrpSpPr/>
          <p:nvPr userDrawn="1"/>
        </p:nvGrpSpPr>
        <p:grpSpPr>
          <a:xfrm>
            <a:off x="4331846" y="-1"/>
            <a:ext cx="2736445" cy="6856917"/>
            <a:chOff x="-3717926" y="327025"/>
            <a:chExt cx="2473326" cy="6197600"/>
          </a:xfrm>
        </p:grpSpPr>
        <p:sp>
          <p:nvSpPr>
            <p:cNvPr id="46" name="Freeform 87">
              <a:extLst>
                <a:ext uri="{FF2B5EF4-FFF2-40B4-BE49-F238E27FC236}">
                  <a16:creationId xmlns:a16="http://schemas.microsoft.com/office/drawing/2014/main" xmlns="" id="{632CCA2A-EBAF-44BB-A7BA-CA3CE441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430588" y="327025"/>
              <a:ext cx="1905001" cy="6197600"/>
            </a:xfrm>
            <a:custGeom>
              <a:avLst/>
              <a:gdLst>
                <a:gd name="T0" fmla="*/ 503 w 503"/>
                <a:gd name="T1" fmla="*/ 1644 h 1644"/>
                <a:gd name="T2" fmla="*/ 486 w 50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03" h="1644">
                  <a:moveTo>
                    <a:pt x="503" y="1644"/>
                  </a:moveTo>
                  <a:cubicBezTo>
                    <a:pt x="0" y="1088"/>
                    <a:pt x="382" y="212"/>
                    <a:pt x="48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88">
              <a:extLst>
                <a:ext uri="{FF2B5EF4-FFF2-40B4-BE49-F238E27FC236}">
                  <a16:creationId xmlns:a16="http://schemas.microsoft.com/office/drawing/2014/main" xmlns="" id="{C6A5B35F-C721-406C-8B76-04524C0BD2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532188" y="327025"/>
              <a:ext cx="2074863" cy="6197600"/>
            </a:xfrm>
            <a:custGeom>
              <a:avLst/>
              <a:gdLst>
                <a:gd name="T0" fmla="*/ 548 w 548"/>
                <a:gd name="T1" fmla="*/ 1644 h 1644"/>
                <a:gd name="T2" fmla="*/ 430 w 548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8" h="1644">
                  <a:moveTo>
                    <a:pt x="548" y="1644"/>
                  </a:moveTo>
                  <a:cubicBezTo>
                    <a:pt x="0" y="1128"/>
                    <a:pt x="324" y="247"/>
                    <a:pt x="430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89">
              <a:extLst>
                <a:ext uri="{FF2B5EF4-FFF2-40B4-BE49-F238E27FC236}">
                  <a16:creationId xmlns:a16="http://schemas.microsoft.com/office/drawing/2014/main" xmlns="" id="{2C89EF69-27F0-4118-AD8B-9353B7E36E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627438" y="327025"/>
              <a:ext cx="2254251" cy="6197600"/>
            </a:xfrm>
            <a:custGeom>
              <a:avLst/>
              <a:gdLst>
                <a:gd name="T0" fmla="*/ 595 w 595"/>
                <a:gd name="T1" fmla="*/ 1644 h 1644"/>
                <a:gd name="T2" fmla="*/ 372 w 595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95" h="1644">
                  <a:moveTo>
                    <a:pt x="595" y="1644"/>
                  </a:moveTo>
                  <a:cubicBezTo>
                    <a:pt x="0" y="1169"/>
                    <a:pt x="268" y="279"/>
                    <a:pt x="372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0">
              <a:extLst>
                <a:ext uri="{FF2B5EF4-FFF2-40B4-BE49-F238E27FC236}">
                  <a16:creationId xmlns:a16="http://schemas.microsoft.com/office/drawing/2014/main" xmlns="" id="{3A98A419-73B4-4548-97B3-E19118E869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717926" y="327025"/>
              <a:ext cx="2473326" cy="6197600"/>
            </a:xfrm>
            <a:custGeom>
              <a:avLst/>
              <a:gdLst>
                <a:gd name="T0" fmla="*/ 653 w 653"/>
                <a:gd name="T1" fmla="*/ 1644 h 1644"/>
                <a:gd name="T2" fmla="*/ 317 w 65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3" h="1644">
                  <a:moveTo>
                    <a:pt x="653" y="1644"/>
                  </a:moveTo>
                  <a:cubicBezTo>
                    <a:pt x="0" y="1212"/>
                    <a:pt x="219" y="307"/>
                    <a:pt x="317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91">
              <a:extLst>
                <a:ext uri="{FF2B5EF4-FFF2-40B4-BE49-F238E27FC236}">
                  <a16:creationId xmlns:a16="http://schemas.microsoft.com/office/drawing/2014/main" xmlns="" id="{CA52F18D-678E-4C63-A950-69F3576EFF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35338" y="327025"/>
              <a:ext cx="2068513" cy="6197600"/>
            </a:xfrm>
            <a:custGeom>
              <a:avLst/>
              <a:gdLst>
                <a:gd name="T0" fmla="*/ 465 w 546"/>
                <a:gd name="T1" fmla="*/ 1644 h 1644"/>
                <a:gd name="T2" fmla="*/ 546 w 546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6" h="1644">
                  <a:moveTo>
                    <a:pt x="465" y="1644"/>
                  </a:moveTo>
                  <a:cubicBezTo>
                    <a:pt x="0" y="1046"/>
                    <a:pt x="454" y="166"/>
                    <a:pt x="54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2479879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5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1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8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4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046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68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6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04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19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8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0064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097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1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2132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66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3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4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553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0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581891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4" name="Слайд think-cell" r:id="rId24" imgW="594" imgH="595" progId="TCLayout.ActiveDocument.1">
                  <p:embed/>
                </p:oleObj>
              </mc:Choice>
              <mc:Fallback>
                <p:oleObj name="Слайд think-cell" r:id="rId2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2275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z="1200" smtClean="0">
                <a:solidFill>
                  <a:schemeClr val="tx1"/>
                </a:solidFill>
              </a:rPr>
              <a:pPr lvl="0"/>
              <a:t>‹#›</a:t>
            </a:fld>
            <a:endParaRPr lang="ru-RU" sz="1200" dirty="0" smtClean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1299" y="25180"/>
            <a:ext cx="849051" cy="617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4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696" r:id="rId8"/>
    <p:sldLayoutId id="2147483703" r:id="rId9"/>
    <p:sldLayoutId id="2147483708" r:id="rId10"/>
    <p:sldLayoutId id="2147483701" r:id="rId11"/>
    <p:sldLayoutId id="2147483742" r:id="rId12"/>
    <p:sldLayoutId id="2147483704" r:id="rId13"/>
    <p:sldLayoutId id="2147483707" r:id="rId14"/>
    <p:sldLayoutId id="2147483706" r:id="rId15"/>
    <p:sldLayoutId id="2147483716" r:id="rId16"/>
    <p:sldLayoutId id="2147483709" r:id="rId17"/>
    <p:sldLayoutId id="2147483710" r:id="rId18"/>
    <p:sldLayoutId id="2147483768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chart" Target="../charts/chart7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image" Target="../media/image1.emf"/><Relationship Id="rId2" Type="http://schemas.openxmlformats.org/officeDocument/2006/relationships/tags" Target="../tags/tag66.xml"/><Relationship Id="rId16" Type="http://schemas.openxmlformats.org/officeDocument/2006/relationships/oleObject" Target="../embeddings/oleObject29.bin"/><Relationship Id="rId1" Type="http://schemas.openxmlformats.org/officeDocument/2006/relationships/vmlDrawing" Target="../drawings/vmlDrawing29.v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74.xml"/><Relationship Id="rId19" Type="http://schemas.openxmlformats.org/officeDocument/2006/relationships/chart" Target="../charts/chart8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4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chart" Target="../charts/chart3.xml"/><Relationship Id="rId3" Type="http://schemas.openxmlformats.org/officeDocument/2006/relationships/tags" Target="../tags/tag42.xml"/><Relationship Id="rId21" Type="http://schemas.openxmlformats.org/officeDocument/2006/relationships/slideLayout" Target="../slideLayouts/slideLayout9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chart" Target="../charts/chart2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chart" Target="../charts/chart6.xml"/><Relationship Id="rId1" Type="http://schemas.openxmlformats.org/officeDocument/2006/relationships/vmlDrawing" Target="../drawings/vmlDrawing26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chart" Target="../charts/chart1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image" Target="../media/image1.emf"/><Relationship Id="rId28" Type="http://schemas.openxmlformats.org/officeDocument/2006/relationships/chart" Target="../charts/chart5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oleObject" Target="../embeddings/oleObject26.bin"/><Relationship Id="rId27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1.xml"/><Relationship Id="rId7" Type="http://schemas.openxmlformats.org/officeDocument/2006/relationships/oleObject" Target="../embeddings/oleObject27.bin"/><Relationship Id="rId2" Type="http://schemas.openxmlformats.org/officeDocument/2006/relationships/tags" Target="../tags/tag60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Апрель  2025 г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sz="1800" dirty="0"/>
              <a:t>Отчет по итогам </a:t>
            </a:r>
            <a:r>
              <a:rPr lang="ru-RU" sz="1800" dirty="0" smtClean="0"/>
              <a:t>2024 </a:t>
            </a:r>
            <a:r>
              <a:rPr lang="ru-RU" sz="1800" dirty="0"/>
              <a:t>года об исполнении утвержденной тарифной сметы и инвестиционной программы, о соблюдении показателей качества и надежности регулируемых услуг и достижении показателей эффективности деятельности </a:t>
            </a:r>
          </a:p>
          <a:p>
            <a:r>
              <a:rPr lang="ru-RU" sz="1800" dirty="0"/>
              <a:t>АО «ЕЭК» перед потребителями и иными заинтересованными лицами</a:t>
            </a: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122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566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6" name="Слайд think-cell" r:id="rId16" imgW="594" imgH="595" progId="TCLayout.ActiveDocument.1">
                  <p:embed/>
                </p:oleObj>
              </mc:Choice>
              <mc:Fallback>
                <p:oleObj name="Слайд think-cell" r:id="rId16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0" dirty="0" smtClean="0">
                <a:solidFill>
                  <a:schemeClr val="accent1"/>
                </a:solidFill>
              </a:rPr>
              <a:t/>
            </a:r>
            <a:br>
              <a:rPr lang="en-US" b="0" dirty="0" smtClean="0">
                <a:solidFill>
                  <a:schemeClr val="accent1"/>
                </a:solidFill>
              </a:rPr>
            </a:br>
            <a:r>
              <a:rPr lang="ru-RU" b="0" dirty="0" smtClean="0">
                <a:solidFill>
                  <a:schemeClr val="accent1"/>
                </a:solidFill>
              </a:rPr>
              <a:t>ЕЭК: Перспективы деятельности </a:t>
            </a:r>
            <a:r>
              <a:rPr lang="ru-RU" b="0" dirty="0">
                <a:solidFill>
                  <a:schemeClr val="accent1"/>
                </a:solidFill>
              </a:rPr>
              <a:t>(планах развития), в том числе возможных изменениях </a:t>
            </a:r>
            <a:r>
              <a:rPr lang="ru-RU" b="0" dirty="0" smtClean="0">
                <a:solidFill>
                  <a:schemeClr val="accent1"/>
                </a:solidFill>
              </a:rPr>
              <a:t>тарифов                                               </a:t>
            </a:r>
            <a:r>
              <a:rPr lang="ru-RU" b="0" dirty="0">
                <a:solidFill>
                  <a:schemeClr val="accent1"/>
                </a:solidFill>
              </a:rPr>
              <a:t/>
            </a:r>
            <a:br>
              <a:rPr lang="ru-RU" b="0" dirty="0">
                <a:solidFill>
                  <a:schemeClr val="accent1"/>
                </a:solidFill>
              </a:rPr>
            </a:br>
            <a:r>
              <a:rPr lang="ru-RU" b="0" dirty="0" smtClean="0">
                <a:solidFill>
                  <a:schemeClr val="accent1"/>
                </a:solidFill>
              </a:rPr>
              <a:t> 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Abgerundetes Rechteck 109"/>
          <p:cNvSpPr/>
          <p:nvPr/>
        </p:nvSpPr>
        <p:spPr>
          <a:xfrm>
            <a:off x="317501" y="1644650"/>
            <a:ext cx="1571625" cy="1490663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Тариф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(утвержден уполномоченным органом)</a:t>
            </a:r>
            <a:endParaRPr lang="en-GB" sz="1100" i="1" dirty="0">
              <a:solidFill>
                <a:schemeClr val="dk1"/>
              </a:solidFill>
              <a:cs typeface="Arial" pitchFamily="34" charset="0"/>
            </a:endParaRPr>
          </a:p>
        </p:txBody>
      </p:sp>
      <p:sp>
        <p:nvSpPr>
          <p:cNvPr id="10" name="Abgerundetes Rechteck 109"/>
          <p:cNvSpPr>
            <a:spLocks/>
          </p:cNvSpPr>
          <p:nvPr/>
        </p:nvSpPr>
        <p:spPr>
          <a:xfrm>
            <a:off x="317501" y="3779838"/>
            <a:ext cx="1571625" cy="1327150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Инвестиции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(</a:t>
            </a: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утверждены 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уполномоченным органом)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endParaRPr lang="en-GB" sz="1600" b="1" dirty="0">
              <a:solidFill>
                <a:schemeClr val="dk1"/>
              </a:solidFill>
              <a:cs typeface="Arial" pitchFamily="34" charset="0"/>
            </a:endParaRPr>
          </a:p>
        </p:txBody>
      </p:sp>
      <p:cxnSp>
        <p:nvCxnSpPr>
          <p:cNvPr id="11" name="Straight Connector 418"/>
          <p:cNvCxnSpPr/>
          <p:nvPr/>
        </p:nvCxnSpPr>
        <p:spPr>
          <a:xfrm>
            <a:off x="236708" y="3394075"/>
            <a:ext cx="7884000" cy="0"/>
          </a:xfrm>
          <a:prstGeom prst="line">
            <a:avLst/>
          </a:prstGeom>
          <a:ln w="9525" cap="flat" cmpd="sng" algn="ctr">
            <a:solidFill>
              <a:srgbClr val="B2B2B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3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64825710"/>
              </p:ext>
            </p:extLst>
          </p:nvPr>
        </p:nvGraphicFramePr>
        <p:xfrm>
          <a:off x="2403475" y="1577975"/>
          <a:ext cx="3675063" cy="161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6" name="Прямоугольник 15"/>
          <p:cNvSpPr/>
          <p:nvPr>
            <p:custDataLst>
              <p:tags r:id="rId4"/>
            </p:custDataLst>
          </p:nvPr>
        </p:nvSpPr>
        <p:spPr bwMode="auto">
          <a:xfrm>
            <a:off x="2936875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6F4F853-A278-48E5-97F3-4B2F8301A6D1}" type="datetime'20''''''''2''''''''''''''''''''''4'''''''''">
              <a:rPr lang="ru-RU" altLang="en-US" sz="900" smtClean="0">
                <a:solidFill>
                  <a:schemeClr val="tx1"/>
                </a:solidFill>
              </a:rPr>
              <a:pPr/>
              <a:t>2024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5"/>
            </p:custDataLst>
          </p:nvPr>
        </p:nvSpPr>
        <p:spPr bwMode="auto">
          <a:xfrm>
            <a:off x="4106863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EA12C30-FA4E-4C9E-99E3-962D1B826EE3}" type="datetime'''''''2''''''''0''''''''''''''2''5'''''''''''''''''''''">
              <a:rPr lang="ru-RU" altLang="en-US" sz="900" smtClean="0">
                <a:solidFill>
                  <a:schemeClr val="tx1"/>
                </a:solidFill>
              </a:rPr>
              <a:pPr/>
              <a:t>202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6"/>
            </p:custDataLst>
          </p:nvPr>
        </p:nvSpPr>
        <p:spPr bwMode="auto">
          <a:xfrm>
            <a:off x="5276850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80967A1-0986-4695-8A24-7C08D1864157}" type="datetime'''''2''''''''''''''''''''''''''0''''2''''6''''''''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7"/>
            </p:custDataLst>
          </p:nvPr>
        </p:nvSpPr>
        <p:spPr bwMode="auto">
          <a:xfrm>
            <a:off x="6516688" y="1693863"/>
            <a:ext cx="160338" cy="120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8"/>
            </p:custDataLst>
          </p:nvPr>
        </p:nvSpPr>
        <p:spPr bwMode="auto">
          <a:xfrm>
            <a:off x="6727825" y="1690688"/>
            <a:ext cx="5588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1254D85-96A7-4EAD-B4F7-B08DA059563A}" type="datetime'''т''''''''е''''нг''е''''''''''''/''''''Г''к''а''л'''''''''''">
              <a:rPr lang="ru-RU" altLang="en-US" sz="900" smtClean="0">
                <a:solidFill>
                  <a:schemeClr val="tx1"/>
                </a:solidFill>
              </a:rPr>
              <a:pPr/>
              <a:t>тенге/Гкал</a:t>
            </a:fld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32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42333446"/>
              </p:ext>
            </p:extLst>
          </p:nvPr>
        </p:nvGraphicFramePr>
        <p:xfrm>
          <a:off x="2413000" y="3597275"/>
          <a:ext cx="3665538" cy="1714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3" name="Прямоугольник 22"/>
          <p:cNvSpPr/>
          <p:nvPr>
            <p:custDataLst>
              <p:tags r:id="rId10"/>
            </p:custDataLst>
          </p:nvPr>
        </p:nvSpPr>
        <p:spPr bwMode="auto">
          <a:xfrm>
            <a:off x="2944813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23AD3-39EA-4609-8CC1-05D14AD80DE7}" type="datetime'''''20''''''''''''''''''2''''''''''''''''4'''''''''''''''''''">
              <a:rPr lang="ru-RU" altLang="en-US" sz="900" smtClean="0">
                <a:solidFill>
                  <a:schemeClr val="tx1"/>
                </a:solidFill>
              </a:rPr>
              <a:pPr/>
              <a:t>2024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11"/>
            </p:custDataLst>
          </p:nvPr>
        </p:nvSpPr>
        <p:spPr bwMode="auto">
          <a:xfrm>
            <a:off x="4111625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1379746-B7D0-45E8-839B-2209530F632A}" type="datetime'''''''''''2''''''0''2''''5'''''''''''''''''''''''">
              <a:rPr lang="ru-RU" altLang="en-US" sz="900" smtClean="0">
                <a:solidFill>
                  <a:schemeClr val="tx1"/>
                </a:solidFill>
              </a:rPr>
              <a:pPr/>
              <a:t>202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2"/>
            </p:custDataLst>
          </p:nvPr>
        </p:nvSpPr>
        <p:spPr bwMode="auto">
          <a:xfrm>
            <a:off x="5278438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7787A8-3D47-46E9-B338-A7C141FCAFAF}" type="datetime'''''''''''''''''''''''2''''''''''''''0''''''''2''''''6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13"/>
            </p:custDataLst>
          </p:nvPr>
        </p:nvSpPr>
        <p:spPr bwMode="auto">
          <a:xfrm>
            <a:off x="5995988" y="3829050"/>
            <a:ext cx="160338" cy="120650"/>
          </a:xfrm>
          <a:prstGeom prst="rect">
            <a:avLst/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4"/>
            </p:custDataLst>
          </p:nvPr>
        </p:nvSpPr>
        <p:spPr bwMode="auto">
          <a:xfrm>
            <a:off x="6207125" y="3825875"/>
            <a:ext cx="557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B6B48D2-E81D-46B5-A2D8-2CBD56CC3E33}" type="datetime'''м''''л''''''''''н.'''' ''''''''''''т''е''''''н''''ге'''">
              <a:rPr lang="ru-RU" altLang="en-US" sz="900" smtClean="0">
                <a:solidFill>
                  <a:schemeClr val="tx1"/>
                </a:solidFill>
              </a:rPr>
              <a:pPr/>
              <a:t>млн. тенге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8" name="Freeform 140"/>
          <p:cNvSpPr/>
          <p:nvPr/>
        </p:nvSpPr>
        <p:spPr>
          <a:xfrm>
            <a:off x="8034391" y="1220788"/>
            <a:ext cx="3655299" cy="4600575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600" dirty="0">
                <a:solidFill>
                  <a:schemeClr val="accent1"/>
                </a:solidFill>
              </a:rPr>
              <a:t>Выполнение </a:t>
            </a:r>
            <a:r>
              <a:rPr lang="ru-RU" sz="1600" dirty="0" smtClean="0">
                <a:solidFill>
                  <a:schemeClr val="accent1"/>
                </a:solidFill>
              </a:rPr>
              <a:t>мероприятий позволит</a:t>
            </a:r>
            <a:r>
              <a:rPr lang="ru-RU" sz="1600" dirty="0">
                <a:solidFill>
                  <a:schemeClr val="accent1"/>
                </a:solidFill>
              </a:rPr>
              <a:t>:</a:t>
            </a:r>
          </a:p>
        </p:txBody>
      </p:sp>
      <p:sp>
        <p:nvSpPr>
          <p:cNvPr id="29" name="Rectangle 5"/>
          <p:cNvSpPr>
            <a:spLocks noChangeArrowheads="1"/>
          </p:cNvSpPr>
          <p:nvPr/>
        </p:nvSpPr>
        <p:spPr bwMode="auto">
          <a:xfrm>
            <a:off x="8232384" y="1846263"/>
            <a:ext cx="3521907" cy="3783013"/>
          </a:xfrm>
          <a:prstGeom prst="rect">
            <a:avLst/>
          </a:prstGeom>
          <a:solidFill>
            <a:schemeClr val="l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lg"/>
          </a:ln>
        </p:spPr>
        <p:txBody>
          <a:bodyPr lIns="108000" tIns="180000" rIns="72000" bIns="72000" anchor="ctr" anchorCtr="0"/>
          <a:lstStyle/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обеспечить поддержание основного оборудования в технически исправном состоянии, при котором возможно обеспечить бесперебойное оказание услуг по 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роизводству тепловой энергии</a:t>
            </a:r>
            <a:r>
              <a:rPr lang="ru-RU" sz="1600" dirty="0" smtClean="0"/>
              <a:t>;</a:t>
            </a:r>
            <a:endParaRPr lang="ru-RU" sz="1600" dirty="0"/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иметь постоянную готовность к ликвидации чрезвычайных или непредвиденных ситуаций</a:t>
            </a:r>
            <a:r>
              <a:rPr lang="ru-RU" sz="1600" dirty="0" smtClean="0"/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 повысить эффективность </a:t>
            </a:r>
            <a:r>
              <a:rPr lang="ru-RU" sz="1600" dirty="0"/>
              <a:t>работы </a:t>
            </a:r>
            <a:r>
              <a:rPr lang="ru-RU" sz="1600" dirty="0" smtClean="0"/>
              <a:t>оборудования и качество </a:t>
            </a:r>
            <a:r>
              <a:rPr lang="ru-RU" sz="1600" dirty="0"/>
              <a:t>предоставляемых </a:t>
            </a:r>
            <a:r>
              <a:rPr lang="ru-RU" sz="1600" dirty="0" smtClean="0"/>
              <a:t>регулируемых услуг</a:t>
            </a:r>
            <a:endParaRPr lang="ru-RU" sz="1600" dirty="0"/>
          </a:p>
        </p:txBody>
      </p:sp>
      <p:grpSp>
        <p:nvGrpSpPr>
          <p:cNvPr id="53" name="Group 37"/>
          <p:cNvGrpSpPr/>
          <p:nvPr/>
        </p:nvGrpSpPr>
        <p:grpSpPr>
          <a:xfrm>
            <a:off x="7685141" y="1831975"/>
            <a:ext cx="172580" cy="3051175"/>
            <a:chOff x="10288826" y="2803525"/>
            <a:chExt cx="172580" cy="3051175"/>
          </a:xfrm>
        </p:grpSpPr>
        <p:grpSp>
          <p:nvGrpSpPr>
            <p:cNvPr id="54" name="Group 20"/>
            <p:cNvGrpSpPr/>
            <p:nvPr/>
          </p:nvGrpSpPr>
          <p:grpSpPr>
            <a:xfrm>
              <a:off x="10288826" y="4094462"/>
              <a:ext cx="172580" cy="469699"/>
              <a:chOff x="3531025" y="4266495"/>
              <a:chExt cx="392739" cy="823525"/>
            </a:xfrm>
          </p:grpSpPr>
          <p:sp>
            <p:nvSpPr>
              <p:cNvPr id="57" name="Freeform 21"/>
              <p:cNvSpPr/>
              <p:nvPr/>
            </p:nvSpPr>
            <p:spPr>
              <a:xfrm>
                <a:off x="3635800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8" name="Freeform 23"/>
              <p:cNvSpPr/>
              <p:nvPr/>
            </p:nvSpPr>
            <p:spPr>
              <a:xfrm>
                <a:off x="3531025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55" name="Прямая соединительная линия 5"/>
            <p:cNvCxnSpPr/>
            <p:nvPr/>
          </p:nvCxnSpPr>
          <p:spPr>
            <a:xfrm>
              <a:off x="10311014" y="2803525"/>
              <a:ext cx="0" cy="1135047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Прямая соединительная линия 6"/>
            <p:cNvCxnSpPr/>
            <p:nvPr/>
          </p:nvCxnSpPr>
          <p:spPr>
            <a:xfrm>
              <a:off x="10311014" y="4720051"/>
              <a:ext cx="0" cy="1134649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4072889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формация об оказываемой услуге – подача воды по распределительным сетям (малая мощность)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17499" y="704850"/>
            <a:ext cx="11604535" cy="6026151"/>
          </a:xfrm>
        </p:spPr>
        <p:txBody>
          <a:bodyPr anchor="ctr"/>
          <a:lstStyle/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1. Информация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б исполнении утвержденной инвестиционной программы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kern="0" dirty="0">
                <a:cs typeface="Arial" panose="020B0604020202020204" pitchFamily="34" charset="0"/>
              </a:rPr>
              <a:t>Инвестиционная программа уполномоченным органом </a:t>
            </a:r>
            <a:r>
              <a:rPr lang="ru-RU" sz="1400" b="1" kern="0" dirty="0">
                <a:cs typeface="Arial" panose="020B0604020202020204" pitchFamily="34" charset="0"/>
              </a:rPr>
              <a:t>не утверждалась.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dirty="0"/>
              <a:t>В 2024 году фактическая сумма амортизационных отчислений по основным средствам, задействованным при оказании регулируемой услуги, составила </a:t>
            </a:r>
            <a:r>
              <a:rPr lang="ru-RU" sz="1400" b="1" dirty="0">
                <a:solidFill>
                  <a:schemeClr val="accent1"/>
                </a:solidFill>
              </a:rPr>
              <a:t>10 815,68 </a:t>
            </a:r>
            <a:r>
              <a:rPr lang="ru-RU" sz="1400" dirty="0"/>
              <a:t>тыс. </a:t>
            </a:r>
            <a:r>
              <a:rPr lang="ru-RU" sz="1400" dirty="0" smtClean="0"/>
              <a:t>тенге. </a:t>
            </a:r>
            <a:r>
              <a:rPr lang="ru-RU" sz="1400" dirty="0"/>
              <a:t>В утвержденной  тарифной смете предусмотрена сумма амортизационных отчислений в размере </a:t>
            </a:r>
            <a:endParaRPr lang="ru-RU" sz="1400" dirty="0" smtClean="0"/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b="1" dirty="0" smtClean="0">
                <a:solidFill>
                  <a:schemeClr val="accent1"/>
                </a:solidFill>
              </a:rPr>
              <a:t>5 955 </a:t>
            </a:r>
            <a:r>
              <a:rPr lang="ru-RU" sz="1400" dirty="0"/>
              <a:t>тыс. </a:t>
            </a:r>
            <a:r>
              <a:rPr lang="ru-RU" sz="1400" dirty="0" smtClean="0"/>
              <a:t>тенге. 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dirty="0" smtClean="0"/>
              <a:t>Сумма </a:t>
            </a:r>
            <a:r>
              <a:rPr lang="ru-RU" sz="1400" dirty="0"/>
              <a:t>амортизационных отчислений, предусмотренная в утвержденной тарифной смете, направлена в 2024 году на выполнение следующих мероприятий по капитальному ремонту на общую сумму </a:t>
            </a:r>
            <a:r>
              <a:rPr lang="ru-RU" sz="1400" b="1" dirty="0">
                <a:solidFill>
                  <a:schemeClr val="accent1"/>
                </a:solidFill>
              </a:rPr>
              <a:t>67 363,49 </a:t>
            </a:r>
            <a:r>
              <a:rPr lang="ru-RU" sz="1400" dirty="0"/>
              <a:t>тыс. тенге:</a:t>
            </a:r>
          </a:p>
          <a:p>
            <a:r>
              <a:rPr lang="ru-RU" sz="1400" dirty="0"/>
              <a:t>расходных баков коагулянта № 1,2</a:t>
            </a:r>
            <a:r>
              <a:rPr lang="ru-RU" sz="1400" dirty="0" smtClean="0"/>
              <a:t>, воздуходувок </a:t>
            </a:r>
            <a:r>
              <a:rPr lang="ru-RU" sz="1400" dirty="0"/>
              <a:t>ВВН-12 №1,2</a:t>
            </a:r>
            <a:r>
              <a:rPr lang="ru-RU" sz="1400" dirty="0" smtClean="0"/>
              <a:t>, насоса </a:t>
            </a:r>
            <a:r>
              <a:rPr lang="ru-RU" sz="1400" dirty="0"/>
              <a:t>промывного 16 НДН №1</a:t>
            </a:r>
            <a:r>
              <a:rPr lang="ru-RU" sz="1400" dirty="0" smtClean="0"/>
              <a:t>, баков-смесителей </a:t>
            </a:r>
            <a:r>
              <a:rPr lang="ru-RU" sz="1400" dirty="0"/>
              <a:t>металлических №1,2,</a:t>
            </a:r>
          </a:p>
          <a:p>
            <a:r>
              <a:rPr lang="ru-RU" sz="1400" dirty="0"/>
              <a:t>дренажного насоса 5 НДВ № </a:t>
            </a:r>
            <a:r>
              <a:rPr lang="ru-RU" sz="1400" dirty="0" smtClean="0"/>
              <a:t>2, насоса-дозатора </a:t>
            </a:r>
            <a:r>
              <a:rPr lang="ru-RU" sz="1400" dirty="0"/>
              <a:t>№3 коагулянта НД 1000-10, бака-осветлителя №3 ж/б, механических фильтров №2,3 ж/б</a:t>
            </a:r>
            <a:endParaRPr lang="ru-RU" sz="1400" kern="0" dirty="0"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Для </a:t>
            </a:r>
            <a:r>
              <a:rPr lang="ru-RU" sz="1400" dirty="0">
                <a:ea typeface="Calibri" panose="020F0502020204030204" pitchFamily="34" charset="0"/>
                <a:cs typeface="Times New Roman" panose="02020603050405020304" pitchFamily="18" charset="0"/>
              </a:rPr>
              <a:t>АО 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«ЕЭК» </a:t>
            </a:r>
            <a:r>
              <a:rPr lang="ru-RU" sz="1400" dirty="0">
                <a:ea typeface="Calibri" panose="020F0502020204030204" pitchFamily="34" charset="0"/>
                <a:cs typeface="Times New Roman" panose="02020603050405020304" pitchFamily="18" charset="0"/>
              </a:rPr>
              <a:t>показатели качества и надежности регулируемых услуг и показатели эффективности деятельности </a:t>
            </a:r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не разрабатывались и не  </a:t>
            </a:r>
            <a:r>
              <a:rPr lang="ru-RU" sz="14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утверждались.</a:t>
            </a:r>
          </a:p>
          <a:p>
            <a:r>
              <a:rPr lang="ru-RU" sz="14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2.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Информация о постатейном исполнении тарифной сметы за 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2024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год</a:t>
            </a:r>
          </a:p>
          <a:p>
            <a:r>
              <a:rPr lang="ru-RU" sz="1400" dirty="0">
                <a:latin typeface="Arial (Основной текст)"/>
              </a:rPr>
              <a:t>Затраты АО </a:t>
            </a:r>
            <a:r>
              <a:rPr lang="ru-RU" sz="1400" dirty="0" smtClean="0">
                <a:latin typeface="Arial (Основной текст)"/>
              </a:rPr>
              <a:t>«ЕЭК» </a:t>
            </a:r>
            <a:r>
              <a:rPr lang="ru-RU" sz="1400" dirty="0">
                <a:latin typeface="Arial (Основной текст)"/>
              </a:rPr>
              <a:t>за </a:t>
            </a:r>
            <a:r>
              <a:rPr lang="ru-RU" sz="1400" dirty="0" smtClean="0">
                <a:latin typeface="Arial (Основной текст)"/>
              </a:rPr>
              <a:t>2024 </a:t>
            </a:r>
            <a:r>
              <a:rPr lang="ru-RU" sz="1400" dirty="0">
                <a:latin typeface="Arial (Основной текст)"/>
              </a:rPr>
              <a:t>год на оказание </a:t>
            </a:r>
            <a:r>
              <a:rPr lang="ru-RU" sz="1400" dirty="0" smtClean="0">
                <a:latin typeface="Arial (Основной текст)"/>
              </a:rPr>
              <a:t>услуги </a:t>
            </a:r>
            <a:r>
              <a:rPr lang="ru-RU" sz="1400" b="1" dirty="0" smtClean="0">
                <a:solidFill>
                  <a:schemeClr val="accent1"/>
                </a:solidFill>
                <a:latin typeface="Arial (Основной текст)"/>
              </a:rPr>
              <a:t>40 341,73 </a:t>
            </a:r>
            <a:r>
              <a:rPr lang="ru-RU" sz="1400" dirty="0" smtClean="0">
                <a:latin typeface="Arial (Основной текст)"/>
              </a:rPr>
              <a:t>тыс</a:t>
            </a:r>
            <a:r>
              <a:rPr lang="ru-RU" sz="1400" dirty="0">
                <a:latin typeface="Arial (Основной текст)"/>
              </a:rPr>
              <a:t>. тенге, превышение против утвержденной тарифной </a:t>
            </a:r>
            <a:r>
              <a:rPr lang="ru-RU" sz="1400" dirty="0" smtClean="0">
                <a:latin typeface="Arial (Основной текст)"/>
              </a:rPr>
              <a:t>сметы на 180%.</a:t>
            </a:r>
            <a:endParaRPr lang="ru-RU" sz="1400" dirty="0">
              <a:latin typeface="Arial (Основной текст)"/>
            </a:endParaRPr>
          </a:p>
          <a:p>
            <a:r>
              <a:rPr lang="ru-RU" sz="1400" dirty="0">
                <a:latin typeface="Arial (Основной текст)"/>
              </a:rPr>
              <a:t>Перерасход затрат в целом по тарифной смете обусловлен ростом заработной платы, наличием затрат, которые не были предусмотрены в утверждённой тарифной смете, и инфляционным процессом. </a:t>
            </a:r>
            <a:endParaRPr lang="ru-RU" sz="1400" dirty="0" smtClean="0">
              <a:latin typeface="Arial (Основной текст)"/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latin typeface="Arial (Основной текст)"/>
              </a:rPr>
              <a:t>3. Информация </a:t>
            </a:r>
            <a:r>
              <a:rPr lang="ru-RU" sz="1400" b="1" dirty="0">
                <a:latin typeface="Arial (Основной текст)"/>
              </a:rPr>
              <a:t>об объемах предоставленных услуг </a:t>
            </a:r>
            <a:endParaRPr lang="en-US" sz="1400" b="1" dirty="0">
              <a:latin typeface="Arial (Основной текст)"/>
            </a:endParaRPr>
          </a:p>
          <a:p>
            <a:r>
              <a:rPr lang="ru-RU" sz="1400" dirty="0">
                <a:latin typeface="Arial (Основной текст)"/>
              </a:rPr>
              <a:t>Объем оказанных услуг составил </a:t>
            </a:r>
            <a:r>
              <a:rPr lang="ru-RU" sz="1400" b="1" dirty="0" smtClean="0">
                <a:solidFill>
                  <a:schemeClr val="accent1"/>
                </a:solidFill>
                <a:latin typeface="Arial (Основной текст)"/>
              </a:rPr>
              <a:t>405,46 </a:t>
            </a:r>
            <a:r>
              <a:rPr lang="ru-RU" sz="1400" dirty="0" smtClean="0">
                <a:latin typeface="Arial (Основной текст)"/>
              </a:rPr>
              <a:t>тыс. м3, </a:t>
            </a:r>
            <a:r>
              <a:rPr lang="ru-RU" sz="1400" dirty="0">
                <a:latin typeface="Arial (Основной текст)"/>
              </a:rPr>
              <a:t>что </a:t>
            </a:r>
            <a:r>
              <a:rPr lang="ru-RU" sz="1400" dirty="0" smtClean="0">
                <a:latin typeface="Arial (Основной текст)"/>
              </a:rPr>
              <a:t>на  12% больше </a:t>
            </a:r>
            <a:r>
              <a:rPr lang="ru-RU" sz="1400" dirty="0">
                <a:latin typeface="Arial (Основной текст)"/>
              </a:rPr>
              <a:t>предусмотренного утвержденной тарифной сметой. </a:t>
            </a:r>
            <a:r>
              <a:rPr lang="ru-RU" sz="1400" dirty="0"/>
              <a:t>Увеличение объема реализации произошло за счет увеличения спроса потребителя регулируемой услуги.</a:t>
            </a:r>
            <a:endParaRPr lang="ru-RU" sz="1400" dirty="0">
              <a:latin typeface="Arial (Основной текст)"/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latin typeface="Arial (Основной текст)"/>
              </a:rPr>
              <a:t>4. Информация </a:t>
            </a:r>
            <a:r>
              <a:rPr lang="ru-RU" sz="1400" b="1" dirty="0">
                <a:latin typeface="Arial (Основной текст)"/>
              </a:rPr>
              <a:t>об основных финансово-экономических показателях </a:t>
            </a:r>
          </a:p>
          <a:p>
            <a:r>
              <a:rPr lang="ru-RU" sz="1400" dirty="0">
                <a:latin typeface="Arial (Основной текст)"/>
              </a:rPr>
              <a:t>Доход </a:t>
            </a:r>
            <a:r>
              <a:rPr lang="ru-RU" sz="1400" dirty="0" smtClean="0">
                <a:latin typeface="Arial (Основной текст)"/>
              </a:rPr>
              <a:t>– </a:t>
            </a:r>
            <a:r>
              <a:rPr lang="ru-RU" sz="1400" b="1" dirty="0" smtClean="0">
                <a:solidFill>
                  <a:schemeClr val="accent1"/>
                </a:solidFill>
                <a:latin typeface="Arial (Основной текст)"/>
              </a:rPr>
              <a:t>16 145,3 </a:t>
            </a:r>
            <a:r>
              <a:rPr lang="ru-RU" sz="1400" dirty="0">
                <a:latin typeface="Arial (Основной текст)"/>
              </a:rPr>
              <a:t>тыс. тенге, </a:t>
            </a:r>
          </a:p>
          <a:p>
            <a:r>
              <a:rPr lang="ru-RU" sz="1400" dirty="0">
                <a:latin typeface="Arial (Основной текст)"/>
              </a:rPr>
              <a:t>Затраты –</a:t>
            </a:r>
            <a:r>
              <a:rPr lang="ru-RU" sz="1400" dirty="0" smtClean="0">
                <a:latin typeface="Arial (Основной текст)"/>
              </a:rPr>
              <a:t> </a:t>
            </a:r>
            <a:r>
              <a:rPr lang="ru-RU" sz="1400" b="1" dirty="0" smtClean="0">
                <a:solidFill>
                  <a:schemeClr val="accent1"/>
                </a:solidFill>
                <a:latin typeface="Arial (Основной текст)"/>
              </a:rPr>
              <a:t>40 341,73 </a:t>
            </a:r>
            <a:r>
              <a:rPr lang="ru-RU" sz="1400" dirty="0" smtClean="0">
                <a:latin typeface="Arial (Основной текст)"/>
              </a:rPr>
              <a:t>тыс</a:t>
            </a:r>
            <a:r>
              <a:rPr lang="ru-RU" sz="1400" dirty="0">
                <a:latin typeface="Arial (Основной текст)"/>
              </a:rPr>
              <a:t>. тенге. </a:t>
            </a:r>
          </a:p>
          <a:p>
            <a:r>
              <a:rPr lang="ru-RU" sz="1400" dirty="0">
                <a:latin typeface="Arial (Основной текст)"/>
              </a:rPr>
              <a:t>Убыток </a:t>
            </a:r>
            <a:r>
              <a:rPr lang="ru-RU" sz="1400" dirty="0" smtClean="0">
                <a:latin typeface="Arial (Основной текст)"/>
              </a:rPr>
              <a:t>– </a:t>
            </a:r>
            <a:r>
              <a:rPr lang="ru-RU" sz="1400" b="1" dirty="0" smtClean="0">
                <a:solidFill>
                  <a:schemeClr val="accent1"/>
                </a:solidFill>
                <a:latin typeface="Arial (Основной текст)"/>
              </a:rPr>
              <a:t>24 196,43 </a:t>
            </a:r>
            <a:r>
              <a:rPr lang="ru-RU" sz="1400" dirty="0" smtClean="0">
                <a:latin typeface="Arial (Основной текст)"/>
              </a:rPr>
              <a:t>тыс</a:t>
            </a:r>
            <a:r>
              <a:rPr lang="ru-RU" sz="1400" dirty="0">
                <a:latin typeface="Arial (Основной текст)"/>
              </a:rPr>
              <a:t>. тенге </a:t>
            </a:r>
            <a:endParaRPr lang="ru-RU" sz="1400" dirty="0" smtClean="0">
              <a:latin typeface="Arial (Основной текст)"/>
            </a:endParaRPr>
          </a:p>
          <a:p>
            <a:endParaRPr lang="ru-RU" sz="1400" dirty="0">
              <a:latin typeface="Arial (Основной текст)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о стороны потребителей на качество предоставляемых услуг за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года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сутствую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19746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6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0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body" sz="quarter" idx="11"/>
          </p:nvPr>
        </p:nvSpPr>
        <p:spPr/>
        <p:txBody>
          <a:bodyPr vert="horz"/>
          <a:lstStyle/>
          <a:p>
            <a:pPr algn="ctr"/>
            <a:r>
              <a:rPr lang="ru-RU" dirty="0">
                <a:solidFill>
                  <a:schemeClr val="accent1"/>
                </a:solidFill>
              </a:rPr>
              <a:t>Спасибо 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2429959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204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6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 </a:t>
            </a:r>
            <a:r>
              <a:rPr lang="ru-RU" dirty="0" smtClean="0"/>
              <a:t>Общая информация о субъекте естественной монополии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7499" y="4041006"/>
            <a:ext cx="549844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u="sng" dirty="0" smtClean="0"/>
              <a:t>Тарифы на регулируемые услуги: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Производство тепловой энергии 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– </a:t>
            </a:r>
            <a:r>
              <a:rPr lang="en-US" sz="1600" dirty="0" smtClean="0">
                <a:solidFill>
                  <a:schemeClr val="accent2">
                    <a:lumMod val="75000"/>
                  </a:schemeClr>
                </a:solidFill>
              </a:rPr>
              <a:t>1 882,82 </a:t>
            </a:r>
            <a:r>
              <a:rPr lang="ru-RU" sz="1600" dirty="0" smtClean="0"/>
              <a:t>тенге/Гкал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подача воды по распределительным сетям – </a:t>
            </a:r>
            <a:r>
              <a:rPr lang="ru-RU" sz="1600" dirty="0" smtClean="0">
                <a:solidFill>
                  <a:schemeClr val="accent1"/>
                </a:solidFill>
              </a:rPr>
              <a:t>39,82 </a:t>
            </a:r>
            <a:r>
              <a:rPr lang="ru-RU" sz="1600" dirty="0" smtClean="0"/>
              <a:t>тенге/м3 </a:t>
            </a:r>
            <a:endParaRPr lang="ru-RU" sz="16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06367" y="6193789"/>
            <a:ext cx="110191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prstClr val="black"/>
                </a:solidFill>
              </a:rPr>
              <a:t>Для АО «ЕЭК» показатели качества и надежности регулируемых услуг и показатели эффективности деятельности </a:t>
            </a:r>
            <a:r>
              <a:rPr lang="ru-RU" sz="1600" b="1" dirty="0">
                <a:solidFill>
                  <a:prstClr val="black"/>
                </a:solidFill>
              </a:rPr>
              <a:t>не разрабатывались и не  утверждались. </a:t>
            </a:r>
            <a:endParaRPr lang="ru-RU" sz="1600" b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95874" y="1616991"/>
            <a:ext cx="2934201" cy="310122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09844" y="3337014"/>
            <a:ext cx="3114675" cy="279256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17499" y="826418"/>
            <a:ext cx="11184690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/>
              <a:t>АО «Евроазиатская энергетическая корпорация» (ЕЭК</a:t>
            </a:r>
            <a:r>
              <a:rPr lang="ru-RU" sz="1600" dirty="0" smtClean="0"/>
              <a:t>) - </a:t>
            </a:r>
            <a:r>
              <a:rPr lang="ru-RU" sz="1600" dirty="0"/>
              <a:t>о</a:t>
            </a:r>
            <a:r>
              <a:rPr lang="ru-RU" sz="1600" dirty="0" smtClean="0"/>
              <a:t>дин </a:t>
            </a:r>
            <a:r>
              <a:rPr lang="ru-RU" sz="1600" dirty="0"/>
              <a:t>из крупнейших поставщиков электроэнергии и угля в Казахстане, основанный в 1996 году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17499" y="1351855"/>
            <a:ext cx="7661844" cy="198515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/>
              <a:t>АО «ЕЭК» является субъектом естественных монополий по следующим видам деятельности: </a:t>
            </a:r>
            <a:endParaRPr lang="ru-RU" sz="1600" dirty="0" smtClean="0"/>
          </a:p>
          <a:p>
            <a:pPr indent="625475" algn="just">
              <a:spcBef>
                <a:spcPts val="600"/>
              </a:spcBef>
              <a:spcAft>
                <a:spcPts val="600"/>
              </a:spcAft>
            </a:pPr>
            <a:r>
              <a:rPr lang="ru-RU" sz="1600" b="1" dirty="0" smtClean="0"/>
              <a:t>производство </a:t>
            </a:r>
            <a:r>
              <a:rPr lang="ru-RU" sz="1600" b="1" dirty="0"/>
              <a:t>тепловой энергии </a:t>
            </a:r>
            <a:endParaRPr lang="en-US" sz="1600" b="1" dirty="0"/>
          </a:p>
          <a:p>
            <a:pPr indent="625475" algn="just">
              <a:spcBef>
                <a:spcPts val="600"/>
              </a:spcBef>
              <a:spcAft>
                <a:spcPts val="600"/>
              </a:spcAft>
            </a:pPr>
            <a:r>
              <a:rPr lang="ru-RU" sz="1600" b="1" dirty="0"/>
              <a:t>подача воды по распределительным сетям. </a:t>
            </a:r>
            <a:r>
              <a:rPr lang="ru-RU" sz="1600" b="1" dirty="0" smtClean="0"/>
              <a:t> </a:t>
            </a:r>
            <a:r>
              <a:rPr lang="ru-RU" sz="1200" i="1" dirty="0" smtClean="0"/>
              <a:t>Начиная </a:t>
            </a:r>
            <a:r>
              <a:rPr lang="ru-RU" sz="1200" i="1" dirty="0"/>
              <a:t>с 2017 года по виду деятельности «подача воды по распределительным сетям» предприятие является субъектом естественных монополий малой мощности.</a:t>
            </a:r>
          </a:p>
          <a:p>
            <a:endParaRPr lang="ru-RU" sz="1600" dirty="0"/>
          </a:p>
        </p:txBody>
      </p:sp>
      <p:grpSp>
        <p:nvGrpSpPr>
          <p:cNvPr id="22" name="Group 490"/>
          <p:cNvGrpSpPr/>
          <p:nvPr/>
        </p:nvGrpSpPr>
        <p:grpSpPr>
          <a:xfrm>
            <a:off x="519060" y="2297787"/>
            <a:ext cx="369888" cy="368300"/>
            <a:chOff x="-3314701" y="4416426"/>
            <a:chExt cx="369888" cy="368300"/>
          </a:xfrm>
        </p:grpSpPr>
        <p:sp>
          <p:nvSpPr>
            <p:cNvPr id="23" name="Freeform 63"/>
            <p:cNvSpPr>
              <a:spLocks/>
            </p:cNvSpPr>
            <p:nvPr/>
          </p:nvSpPr>
          <p:spPr bwMode="auto">
            <a:xfrm>
              <a:off x="-3314701" y="4416426"/>
              <a:ext cx="369888" cy="368300"/>
            </a:xfrm>
            <a:custGeom>
              <a:avLst/>
              <a:gdLst>
                <a:gd name="T0" fmla="*/ 261 w 283"/>
                <a:gd name="T1" fmla="*/ 109 h 283"/>
                <a:gd name="T2" fmla="*/ 253 w 283"/>
                <a:gd name="T3" fmla="*/ 98 h 283"/>
                <a:gd name="T4" fmla="*/ 254 w 283"/>
                <a:gd name="T5" fmla="*/ 120 h 283"/>
                <a:gd name="T6" fmla="*/ 274 w 283"/>
                <a:gd name="T7" fmla="*/ 159 h 283"/>
                <a:gd name="T8" fmla="*/ 252 w 283"/>
                <a:gd name="T9" fmla="*/ 171 h 283"/>
                <a:gd name="T10" fmla="*/ 265 w 283"/>
                <a:gd name="T11" fmla="*/ 192 h 283"/>
                <a:gd name="T12" fmla="*/ 229 w 283"/>
                <a:gd name="T13" fmla="*/ 216 h 283"/>
                <a:gd name="T14" fmla="*/ 215 w 283"/>
                <a:gd name="T15" fmla="*/ 234 h 283"/>
                <a:gd name="T16" fmla="*/ 185 w 283"/>
                <a:gd name="T17" fmla="*/ 252 h 283"/>
                <a:gd name="T18" fmla="*/ 159 w 283"/>
                <a:gd name="T19" fmla="*/ 258 h 283"/>
                <a:gd name="T20" fmla="*/ 124 w 283"/>
                <a:gd name="T21" fmla="*/ 258 h 283"/>
                <a:gd name="T22" fmla="*/ 98 w 283"/>
                <a:gd name="T23" fmla="*/ 252 h 283"/>
                <a:gd name="T24" fmla="*/ 67 w 283"/>
                <a:gd name="T25" fmla="*/ 234 h 283"/>
                <a:gd name="T26" fmla="*/ 54 w 283"/>
                <a:gd name="T27" fmla="*/ 216 h 283"/>
                <a:gd name="T28" fmla="*/ 18 w 283"/>
                <a:gd name="T29" fmla="*/ 192 h 283"/>
                <a:gd name="T30" fmla="*/ 31 w 283"/>
                <a:gd name="T31" fmla="*/ 171 h 283"/>
                <a:gd name="T32" fmla="*/ 9 w 283"/>
                <a:gd name="T33" fmla="*/ 159 h 283"/>
                <a:gd name="T34" fmla="*/ 29 w 283"/>
                <a:gd name="T35" fmla="*/ 120 h 283"/>
                <a:gd name="T36" fmla="*/ 31 w 283"/>
                <a:gd name="T37" fmla="*/ 98 h 283"/>
                <a:gd name="T38" fmla="*/ 48 w 283"/>
                <a:gd name="T39" fmla="*/ 67 h 283"/>
                <a:gd name="T40" fmla="*/ 66 w 283"/>
                <a:gd name="T41" fmla="*/ 54 h 283"/>
                <a:gd name="T42" fmla="*/ 90 w 283"/>
                <a:gd name="T43" fmla="*/ 18 h 283"/>
                <a:gd name="T44" fmla="*/ 120 w 283"/>
                <a:gd name="T45" fmla="*/ 28 h 283"/>
                <a:gd name="T46" fmla="*/ 159 w 283"/>
                <a:gd name="T47" fmla="*/ 9 h 283"/>
                <a:gd name="T48" fmla="*/ 180 w 283"/>
                <a:gd name="T49" fmla="*/ 33 h 283"/>
                <a:gd name="T50" fmla="*/ 223 w 283"/>
                <a:gd name="T51" fmla="*/ 35 h 283"/>
                <a:gd name="T52" fmla="*/ 223 w 283"/>
                <a:gd name="T53" fmla="*/ 60 h 283"/>
                <a:gd name="T54" fmla="*/ 247 w 283"/>
                <a:gd name="T55" fmla="*/ 60 h 283"/>
                <a:gd name="T56" fmla="*/ 275 w 283"/>
                <a:gd name="T57" fmla="*/ 89 h 283"/>
                <a:gd name="T58" fmla="*/ 233 w 283"/>
                <a:gd name="T59" fmla="*/ 58 h 283"/>
                <a:gd name="T60" fmla="*/ 233 w 283"/>
                <a:gd name="T61" fmla="*/ 36 h 283"/>
                <a:gd name="T62" fmla="*/ 193 w 283"/>
                <a:gd name="T63" fmla="*/ 7 h 283"/>
                <a:gd name="T64" fmla="*/ 168 w 283"/>
                <a:gd name="T65" fmla="*/ 20 h 283"/>
                <a:gd name="T66" fmla="*/ 119 w 283"/>
                <a:gd name="T67" fmla="*/ 0 h 283"/>
                <a:gd name="T68" fmla="*/ 104 w 283"/>
                <a:gd name="T69" fmla="*/ 23 h 283"/>
                <a:gd name="T70" fmla="*/ 51 w 283"/>
                <a:gd name="T71" fmla="*/ 29 h 283"/>
                <a:gd name="T72" fmla="*/ 53 w 283"/>
                <a:gd name="T73" fmla="*/ 54 h 283"/>
                <a:gd name="T74" fmla="*/ 30 w 283"/>
                <a:gd name="T75" fmla="*/ 51 h 283"/>
                <a:gd name="T76" fmla="*/ 9 w 283"/>
                <a:gd name="T77" fmla="*/ 96 h 283"/>
                <a:gd name="T78" fmla="*/ 22 w 283"/>
                <a:gd name="T79" fmla="*/ 109 h 283"/>
                <a:gd name="T80" fmla="*/ 0 w 283"/>
                <a:gd name="T81" fmla="*/ 119 h 283"/>
                <a:gd name="T82" fmla="*/ 20 w 283"/>
                <a:gd name="T83" fmla="*/ 168 h 283"/>
                <a:gd name="T84" fmla="*/ 9 w 283"/>
                <a:gd name="T85" fmla="*/ 187 h 283"/>
                <a:gd name="T86" fmla="*/ 30 w 283"/>
                <a:gd name="T87" fmla="*/ 231 h 283"/>
                <a:gd name="T88" fmla="*/ 50 w 283"/>
                <a:gd name="T89" fmla="*/ 225 h 283"/>
                <a:gd name="T90" fmla="*/ 57 w 283"/>
                <a:gd name="T91" fmla="*/ 233 h 283"/>
                <a:gd name="T92" fmla="*/ 90 w 283"/>
                <a:gd name="T93" fmla="*/ 275 h 283"/>
                <a:gd name="T94" fmla="*/ 115 w 283"/>
                <a:gd name="T95" fmla="*/ 262 h 283"/>
                <a:gd name="T96" fmla="*/ 163 w 283"/>
                <a:gd name="T97" fmla="*/ 283 h 283"/>
                <a:gd name="T98" fmla="*/ 179 w 283"/>
                <a:gd name="T99" fmla="*/ 259 h 283"/>
                <a:gd name="T100" fmla="*/ 231 w 283"/>
                <a:gd name="T101" fmla="*/ 253 h 283"/>
                <a:gd name="T102" fmla="*/ 225 w 283"/>
                <a:gd name="T103" fmla="*/ 233 h 283"/>
                <a:gd name="T104" fmla="*/ 233 w 283"/>
                <a:gd name="T105" fmla="*/ 225 h 283"/>
                <a:gd name="T106" fmla="*/ 253 w 283"/>
                <a:gd name="T107" fmla="*/ 231 h 283"/>
                <a:gd name="T108" fmla="*/ 260 w 283"/>
                <a:gd name="T109" fmla="*/ 178 h 283"/>
                <a:gd name="T110" fmla="*/ 262 w 283"/>
                <a:gd name="T111" fmla="*/ 168 h 283"/>
                <a:gd name="T112" fmla="*/ 283 w 283"/>
                <a:gd name="T113" fmla="*/ 119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3" h="283">
                  <a:moveTo>
                    <a:pt x="278" y="115"/>
                  </a:moveTo>
                  <a:cubicBezTo>
                    <a:pt x="262" y="115"/>
                    <a:pt x="262" y="115"/>
                    <a:pt x="262" y="115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59" y="101"/>
                    <a:pt x="259" y="101"/>
                    <a:pt x="259" y="101"/>
                  </a:cubicBezTo>
                  <a:cubicBezTo>
                    <a:pt x="258" y="98"/>
                    <a:pt x="255" y="97"/>
                    <a:pt x="253" y="98"/>
                  </a:cubicBezTo>
                  <a:cubicBezTo>
                    <a:pt x="250" y="98"/>
                    <a:pt x="249" y="101"/>
                    <a:pt x="250" y="103"/>
                  </a:cubicBezTo>
                  <a:cubicBezTo>
                    <a:pt x="252" y="111"/>
                    <a:pt x="252" y="111"/>
                    <a:pt x="252" y="111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2"/>
                    <a:pt x="256" y="124"/>
                    <a:pt x="259" y="124"/>
                  </a:cubicBezTo>
                  <a:cubicBezTo>
                    <a:pt x="274" y="124"/>
                    <a:pt x="274" y="124"/>
                    <a:pt x="274" y="124"/>
                  </a:cubicBezTo>
                  <a:cubicBezTo>
                    <a:pt x="274" y="159"/>
                    <a:pt x="274" y="159"/>
                    <a:pt x="274" y="159"/>
                  </a:cubicBezTo>
                  <a:cubicBezTo>
                    <a:pt x="259" y="159"/>
                    <a:pt x="259" y="159"/>
                    <a:pt x="259" y="159"/>
                  </a:cubicBezTo>
                  <a:cubicBezTo>
                    <a:pt x="256" y="159"/>
                    <a:pt x="254" y="161"/>
                    <a:pt x="254" y="163"/>
                  </a:cubicBezTo>
                  <a:cubicBezTo>
                    <a:pt x="252" y="171"/>
                    <a:pt x="252" y="171"/>
                    <a:pt x="252" y="171"/>
                  </a:cubicBezTo>
                  <a:cubicBezTo>
                    <a:pt x="250" y="179"/>
                    <a:pt x="250" y="179"/>
                    <a:pt x="250" y="179"/>
                  </a:cubicBezTo>
                  <a:cubicBezTo>
                    <a:pt x="249" y="181"/>
                    <a:pt x="250" y="183"/>
                    <a:pt x="252" y="184"/>
                  </a:cubicBezTo>
                  <a:cubicBezTo>
                    <a:pt x="265" y="192"/>
                    <a:pt x="265" y="192"/>
                    <a:pt x="265" y="192"/>
                  </a:cubicBezTo>
                  <a:cubicBezTo>
                    <a:pt x="247" y="223"/>
                    <a:pt x="247" y="223"/>
                    <a:pt x="247" y="223"/>
                  </a:cubicBezTo>
                  <a:cubicBezTo>
                    <a:pt x="235" y="215"/>
                    <a:pt x="235" y="215"/>
                    <a:pt x="235" y="215"/>
                  </a:cubicBezTo>
                  <a:cubicBezTo>
                    <a:pt x="233" y="214"/>
                    <a:pt x="230" y="214"/>
                    <a:pt x="229" y="216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16" y="228"/>
                    <a:pt x="216" y="228"/>
                    <a:pt x="216" y="228"/>
                  </a:cubicBezTo>
                  <a:cubicBezTo>
                    <a:pt x="214" y="230"/>
                    <a:pt x="214" y="232"/>
                    <a:pt x="215" y="234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192" y="264"/>
                    <a:pt x="192" y="264"/>
                    <a:pt x="192" y="264"/>
                  </a:cubicBezTo>
                  <a:cubicBezTo>
                    <a:pt x="185" y="252"/>
                    <a:pt x="185" y="252"/>
                    <a:pt x="185" y="252"/>
                  </a:cubicBezTo>
                  <a:cubicBezTo>
                    <a:pt x="184" y="250"/>
                    <a:pt x="182" y="249"/>
                    <a:pt x="180" y="250"/>
                  </a:cubicBezTo>
                  <a:cubicBezTo>
                    <a:pt x="162" y="254"/>
                    <a:pt x="162" y="254"/>
                    <a:pt x="162" y="254"/>
                  </a:cubicBezTo>
                  <a:cubicBezTo>
                    <a:pt x="160" y="254"/>
                    <a:pt x="159" y="256"/>
                    <a:pt x="159" y="258"/>
                  </a:cubicBezTo>
                  <a:cubicBezTo>
                    <a:pt x="159" y="274"/>
                    <a:pt x="159" y="274"/>
                    <a:pt x="159" y="274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258"/>
                    <a:pt x="124" y="258"/>
                    <a:pt x="124" y="258"/>
                  </a:cubicBezTo>
                  <a:cubicBezTo>
                    <a:pt x="124" y="256"/>
                    <a:pt x="123" y="254"/>
                    <a:pt x="120" y="254"/>
                  </a:cubicBezTo>
                  <a:cubicBezTo>
                    <a:pt x="103" y="250"/>
                    <a:pt x="103" y="250"/>
                    <a:pt x="103" y="250"/>
                  </a:cubicBezTo>
                  <a:cubicBezTo>
                    <a:pt x="101" y="249"/>
                    <a:pt x="99" y="250"/>
                    <a:pt x="98" y="252"/>
                  </a:cubicBezTo>
                  <a:cubicBezTo>
                    <a:pt x="90" y="264"/>
                    <a:pt x="90" y="264"/>
                    <a:pt x="90" y="264"/>
                  </a:cubicBezTo>
                  <a:cubicBezTo>
                    <a:pt x="60" y="247"/>
                    <a:pt x="60" y="247"/>
                    <a:pt x="60" y="247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8" y="232"/>
                    <a:pt x="68" y="230"/>
                    <a:pt x="66" y="228"/>
                  </a:cubicBezTo>
                  <a:cubicBezTo>
                    <a:pt x="60" y="223"/>
                    <a:pt x="60" y="223"/>
                    <a:pt x="60" y="223"/>
                  </a:cubicBezTo>
                  <a:cubicBezTo>
                    <a:pt x="54" y="216"/>
                    <a:pt x="54" y="216"/>
                    <a:pt x="54" y="216"/>
                  </a:cubicBezTo>
                  <a:cubicBezTo>
                    <a:pt x="53" y="214"/>
                    <a:pt x="50" y="214"/>
                    <a:pt x="48" y="215"/>
                  </a:cubicBezTo>
                  <a:cubicBezTo>
                    <a:pt x="36" y="223"/>
                    <a:pt x="36" y="223"/>
                    <a:pt x="36" y="223"/>
                  </a:cubicBezTo>
                  <a:cubicBezTo>
                    <a:pt x="18" y="192"/>
                    <a:pt x="18" y="192"/>
                    <a:pt x="18" y="192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33" y="183"/>
                    <a:pt x="34" y="181"/>
                    <a:pt x="33" y="179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28" y="160"/>
                    <a:pt x="26" y="159"/>
                    <a:pt x="24" y="159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24" y="124"/>
                    <a:pt x="24" y="124"/>
                    <a:pt x="24" y="124"/>
                  </a:cubicBezTo>
                  <a:cubicBezTo>
                    <a:pt x="26" y="124"/>
                    <a:pt x="28" y="122"/>
                    <a:pt x="29" y="120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3" y="103"/>
                    <a:pt x="33" y="103"/>
                    <a:pt x="33" y="103"/>
                  </a:cubicBezTo>
                  <a:cubicBezTo>
                    <a:pt x="34" y="101"/>
                    <a:pt x="33" y="99"/>
                    <a:pt x="31" y="98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50" y="69"/>
                    <a:pt x="53" y="68"/>
                    <a:pt x="54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8" y="52"/>
                    <a:pt x="68" y="50"/>
                    <a:pt x="67" y="48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9" y="32"/>
                    <a:pt x="101" y="33"/>
                    <a:pt x="103" y="33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3" y="28"/>
                    <a:pt x="124" y="26"/>
                    <a:pt x="124" y="24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24"/>
                    <a:pt x="159" y="24"/>
                    <a:pt x="159" y="24"/>
                  </a:cubicBezTo>
                  <a:cubicBezTo>
                    <a:pt x="159" y="26"/>
                    <a:pt x="160" y="28"/>
                    <a:pt x="162" y="28"/>
                  </a:cubicBezTo>
                  <a:cubicBezTo>
                    <a:pt x="180" y="33"/>
                    <a:pt x="180" y="33"/>
                    <a:pt x="180" y="33"/>
                  </a:cubicBezTo>
                  <a:cubicBezTo>
                    <a:pt x="182" y="33"/>
                    <a:pt x="184" y="32"/>
                    <a:pt x="185" y="30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223" y="35"/>
                    <a:pt x="223" y="35"/>
                    <a:pt x="223" y="35"/>
                  </a:cubicBezTo>
                  <a:cubicBezTo>
                    <a:pt x="215" y="48"/>
                    <a:pt x="215" y="48"/>
                    <a:pt x="215" y="48"/>
                  </a:cubicBezTo>
                  <a:cubicBezTo>
                    <a:pt x="214" y="50"/>
                    <a:pt x="214" y="53"/>
                    <a:pt x="216" y="54"/>
                  </a:cubicBezTo>
                  <a:cubicBezTo>
                    <a:pt x="223" y="60"/>
                    <a:pt x="223" y="60"/>
                    <a:pt x="223" y="60"/>
                  </a:cubicBezTo>
                  <a:cubicBezTo>
                    <a:pt x="229" y="67"/>
                    <a:pt x="229" y="67"/>
                    <a:pt x="229" y="67"/>
                  </a:cubicBezTo>
                  <a:cubicBezTo>
                    <a:pt x="231" y="68"/>
                    <a:pt x="233" y="69"/>
                    <a:pt x="235" y="67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67" y="94"/>
                    <a:pt x="267" y="94"/>
                    <a:pt x="267" y="94"/>
                  </a:cubicBezTo>
                  <a:cubicBezTo>
                    <a:pt x="269" y="96"/>
                    <a:pt x="272" y="97"/>
                    <a:pt x="274" y="96"/>
                  </a:cubicBezTo>
                  <a:cubicBezTo>
                    <a:pt x="276" y="95"/>
                    <a:pt x="277" y="92"/>
                    <a:pt x="275" y="89"/>
                  </a:cubicBezTo>
                  <a:cubicBezTo>
                    <a:pt x="253" y="51"/>
                    <a:pt x="253" y="51"/>
                    <a:pt x="253" y="51"/>
                  </a:cubicBezTo>
                  <a:cubicBezTo>
                    <a:pt x="252" y="49"/>
                    <a:pt x="249" y="49"/>
                    <a:pt x="247" y="50"/>
                  </a:cubicBezTo>
                  <a:cubicBezTo>
                    <a:pt x="233" y="58"/>
                    <a:pt x="233" y="58"/>
                    <a:pt x="233" y="58"/>
                  </a:cubicBezTo>
                  <a:cubicBezTo>
                    <a:pt x="229" y="54"/>
                    <a:pt x="229" y="54"/>
                    <a:pt x="229" y="54"/>
                  </a:cubicBezTo>
                  <a:cubicBezTo>
                    <a:pt x="225" y="50"/>
                    <a:pt x="225" y="50"/>
                    <a:pt x="225" y="50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34" y="35"/>
                    <a:pt x="234" y="33"/>
                    <a:pt x="234" y="32"/>
                  </a:cubicBezTo>
                  <a:cubicBezTo>
                    <a:pt x="233" y="31"/>
                    <a:pt x="232" y="30"/>
                    <a:pt x="231" y="29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1" y="6"/>
                    <a:pt x="188" y="7"/>
                    <a:pt x="187" y="9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2"/>
                    <a:pt x="166" y="0"/>
                    <a:pt x="163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7" y="0"/>
                    <a:pt x="115" y="2"/>
                    <a:pt x="115" y="5"/>
                  </a:cubicBezTo>
                  <a:cubicBezTo>
                    <a:pt x="115" y="20"/>
                    <a:pt x="115" y="20"/>
                    <a:pt x="115" y="20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5" y="7"/>
                    <a:pt x="92" y="6"/>
                    <a:pt x="90" y="7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49" y="31"/>
                    <a:pt x="48" y="34"/>
                    <a:pt x="49" y="36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4" y="49"/>
                    <a:pt x="32" y="49"/>
                    <a:pt x="30" y="51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91"/>
                    <a:pt x="6" y="92"/>
                    <a:pt x="7" y="93"/>
                  </a:cubicBezTo>
                  <a:cubicBezTo>
                    <a:pt x="7" y="94"/>
                    <a:pt x="8" y="95"/>
                    <a:pt x="9" y="96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0" y="115"/>
                    <a:pt x="20" y="115"/>
                    <a:pt x="20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2" y="115"/>
                    <a:pt x="0" y="117"/>
                    <a:pt x="0" y="1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6"/>
                    <a:pt x="2" y="168"/>
                    <a:pt x="4" y="168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22" y="174"/>
                    <a:pt x="22" y="174"/>
                    <a:pt x="22" y="174"/>
                  </a:cubicBezTo>
                  <a:cubicBezTo>
                    <a:pt x="23" y="178"/>
                    <a:pt x="23" y="178"/>
                    <a:pt x="23" y="178"/>
                  </a:cubicBezTo>
                  <a:cubicBezTo>
                    <a:pt x="9" y="187"/>
                    <a:pt x="9" y="187"/>
                    <a:pt x="9" y="187"/>
                  </a:cubicBezTo>
                  <a:cubicBezTo>
                    <a:pt x="8" y="188"/>
                    <a:pt x="7" y="189"/>
                    <a:pt x="7" y="190"/>
                  </a:cubicBezTo>
                  <a:cubicBezTo>
                    <a:pt x="6" y="191"/>
                    <a:pt x="7" y="192"/>
                    <a:pt x="7" y="193"/>
                  </a:cubicBezTo>
                  <a:cubicBezTo>
                    <a:pt x="30" y="231"/>
                    <a:pt x="30" y="231"/>
                    <a:pt x="30" y="231"/>
                  </a:cubicBezTo>
                  <a:cubicBezTo>
                    <a:pt x="31" y="232"/>
                    <a:pt x="32" y="233"/>
                    <a:pt x="33" y="233"/>
                  </a:cubicBezTo>
                  <a:cubicBezTo>
                    <a:pt x="34" y="234"/>
                    <a:pt x="36" y="234"/>
                    <a:pt x="37" y="233"/>
                  </a:cubicBezTo>
                  <a:cubicBezTo>
                    <a:pt x="50" y="225"/>
                    <a:pt x="50" y="225"/>
                    <a:pt x="50" y="225"/>
                  </a:cubicBezTo>
                  <a:cubicBezTo>
                    <a:pt x="53" y="229"/>
                    <a:pt x="53" y="229"/>
                    <a:pt x="53" y="229"/>
                  </a:cubicBezTo>
                  <a:cubicBezTo>
                    <a:pt x="53" y="229"/>
                    <a:pt x="53" y="229"/>
                    <a:pt x="54" y="229"/>
                  </a:cubicBezTo>
                  <a:cubicBezTo>
                    <a:pt x="57" y="233"/>
                    <a:pt x="57" y="233"/>
                    <a:pt x="57" y="233"/>
                  </a:cubicBezTo>
                  <a:cubicBezTo>
                    <a:pt x="49" y="246"/>
                    <a:pt x="49" y="246"/>
                    <a:pt x="49" y="246"/>
                  </a:cubicBezTo>
                  <a:cubicBezTo>
                    <a:pt x="48" y="249"/>
                    <a:pt x="49" y="252"/>
                    <a:pt x="51" y="253"/>
                  </a:cubicBezTo>
                  <a:cubicBezTo>
                    <a:pt x="90" y="275"/>
                    <a:pt x="90" y="275"/>
                    <a:pt x="90" y="275"/>
                  </a:cubicBezTo>
                  <a:cubicBezTo>
                    <a:pt x="92" y="276"/>
                    <a:pt x="95" y="275"/>
                    <a:pt x="96" y="273"/>
                  </a:cubicBezTo>
                  <a:cubicBezTo>
                    <a:pt x="104" y="259"/>
                    <a:pt x="104" y="259"/>
                    <a:pt x="104" y="259"/>
                  </a:cubicBezTo>
                  <a:cubicBezTo>
                    <a:pt x="115" y="262"/>
                    <a:pt x="115" y="262"/>
                    <a:pt x="115" y="262"/>
                  </a:cubicBezTo>
                  <a:cubicBezTo>
                    <a:pt x="115" y="279"/>
                    <a:pt x="115" y="279"/>
                    <a:pt x="115" y="279"/>
                  </a:cubicBezTo>
                  <a:cubicBezTo>
                    <a:pt x="115" y="281"/>
                    <a:pt x="117" y="283"/>
                    <a:pt x="119" y="283"/>
                  </a:cubicBezTo>
                  <a:cubicBezTo>
                    <a:pt x="163" y="283"/>
                    <a:pt x="163" y="283"/>
                    <a:pt x="163" y="283"/>
                  </a:cubicBezTo>
                  <a:cubicBezTo>
                    <a:pt x="166" y="283"/>
                    <a:pt x="168" y="281"/>
                    <a:pt x="168" y="279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79" y="259"/>
                    <a:pt x="179" y="259"/>
                    <a:pt x="179" y="259"/>
                  </a:cubicBezTo>
                  <a:cubicBezTo>
                    <a:pt x="187" y="273"/>
                    <a:pt x="187" y="273"/>
                    <a:pt x="187" y="273"/>
                  </a:cubicBezTo>
                  <a:cubicBezTo>
                    <a:pt x="188" y="275"/>
                    <a:pt x="191" y="276"/>
                    <a:pt x="193" y="275"/>
                  </a:cubicBezTo>
                  <a:cubicBezTo>
                    <a:pt x="231" y="253"/>
                    <a:pt x="231" y="253"/>
                    <a:pt x="231" y="253"/>
                  </a:cubicBezTo>
                  <a:cubicBezTo>
                    <a:pt x="232" y="252"/>
                    <a:pt x="233" y="251"/>
                    <a:pt x="234" y="250"/>
                  </a:cubicBezTo>
                  <a:cubicBezTo>
                    <a:pt x="234" y="249"/>
                    <a:pt x="234" y="247"/>
                    <a:pt x="233" y="246"/>
                  </a:cubicBezTo>
                  <a:cubicBezTo>
                    <a:pt x="225" y="233"/>
                    <a:pt x="225" y="233"/>
                    <a:pt x="225" y="233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33" y="225"/>
                    <a:pt x="233" y="225"/>
                    <a:pt x="233" y="225"/>
                  </a:cubicBezTo>
                  <a:cubicBezTo>
                    <a:pt x="246" y="233"/>
                    <a:pt x="246" y="233"/>
                    <a:pt x="246" y="233"/>
                  </a:cubicBezTo>
                  <a:cubicBezTo>
                    <a:pt x="248" y="234"/>
                    <a:pt x="249" y="234"/>
                    <a:pt x="250" y="233"/>
                  </a:cubicBezTo>
                  <a:cubicBezTo>
                    <a:pt x="251" y="233"/>
                    <a:pt x="252" y="232"/>
                    <a:pt x="253" y="231"/>
                  </a:cubicBezTo>
                  <a:cubicBezTo>
                    <a:pt x="275" y="193"/>
                    <a:pt x="275" y="193"/>
                    <a:pt x="275" y="193"/>
                  </a:cubicBezTo>
                  <a:cubicBezTo>
                    <a:pt x="277" y="191"/>
                    <a:pt x="276" y="188"/>
                    <a:pt x="274" y="187"/>
                  </a:cubicBezTo>
                  <a:cubicBezTo>
                    <a:pt x="260" y="178"/>
                    <a:pt x="260" y="178"/>
                    <a:pt x="260" y="178"/>
                  </a:cubicBezTo>
                  <a:cubicBezTo>
                    <a:pt x="261" y="174"/>
                    <a:pt x="261" y="174"/>
                    <a:pt x="261" y="174"/>
                  </a:cubicBezTo>
                  <a:cubicBezTo>
                    <a:pt x="261" y="173"/>
                    <a:pt x="261" y="173"/>
                    <a:pt x="261" y="173"/>
                  </a:cubicBezTo>
                  <a:cubicBezTo>
                    <a:pt x="262" y="168"/>
                    <a:pt x="262" y="168"/>
                    <a:pt x="262" y="168"/>
                  </a:cubicBezTo>
                  <a:cubicBezTo>
                    <a:pt x="278" y="168"/>
                    <a:pt x="278" y="168"/>
                    <a:pt x="278" y="168"/>
                  </a:cubicBezTo>
                  <a:cubicBezTo>
                    <a:pt x="281" y="168"/>
                    <a:pt x="283" y="166"/>
                    <a:pt x="283" y="164"/>
                  </a:cubicBezTo>
                  <a:cubicBezTo>
                    <a:pt x="283" y="119"/>
                    <a:pt x="283" y="119"/>
                    <a:pt x="283" y="119"/>
                  </a:cubicBezTo>
                  <a:cubicBezTo>
                    <a:pt x="283" y="117"/>
                    <a:pt x="281" y="115"/>
                    <a:pt x="278" y="115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64"/>
            <p:cNvSpPr>
              <a:spLocks noEditPoints="1"/>
            </p:cNvSpPr>
            <p:nvPr/>
          </p:nvSpPr>
          <p:spPr bwMode="auto">
            <a:xfrm>
              <a:off x="-3238501" y="4470401"/>
              <a:ext cx="215900" cy="255588"/>
            </a:xfrm>
            <a:custGeom>
              <a:avLst/>
              <a:gdLst>
                <a:gd name="T0" fmla="*/ 94 w 165"/>
                <a:gd name="T1" fmla="*/ 19 h 197"/>
                <a:gd name="T2" fmla="*/ 87 w 165"/>
                <a:gd name="T3" fmla="*/ 2 h 197"/>
                <a:gd name="T4" fmla="*/ 84 w 165"/>
                <a:gd name="T5" fmla="*/ 0 h 197"/>
                <a:gd name="T6" fmla="*/ 82 w 165"/>
                <a:gd name="T7" fmla="*/ 0 h 197"/>
                <a:gd name="T8" fmla="*/ 82 w 165"/>
                <a:gd name="T9" fmla="*/ 0 h 197"/>
                <a:gd name="T10" fmla="*/ 78 w 165"/>
                <a:gd name="T11" fmla="*/ 2 h 197"/>
                <a:gd name="T12" fmla="*/ 71 w 165"/>
                <a:gd name="T13" fmla="*/ 19 h 197"/>
                <a:gd name="T14" fmla="*/ 0 w 165"/>
                <a:gd name="T15" fmla="*/ 101 h 197"/>
                <a:gd name="T16" fmla="*/ 23 w 165"/>
                <a:gd name="T17" fmla="*/ 158 h 197"/>
                <a:gd name="T18" fmla="*/ 33 w 165"/>
                <a:gd name="T19" fmla="*/ 174 h 197"/>
                <a:gd name="T20" fmla="*/ 82 w 165"/>
                <a:gd name="T21" fmla="*/ 197 h 197"/>
                <a:gd name="T22" fmla="*/ 82 w 165"/>
                <a:gd name="T23" fmla="*/ 197 h 197"/>
                <a:gd name="T24" fmla="*/ 82 w 165"/>
                <a:gd name="T25" fmla="*/ 197 h 197"/>
                <a:gd name="T26" fmla="*/ 132 w 165"/>
                <a:gd name="T27" fmla="*/ 174 h 197"/>
                <a:gd name="T28" fmla="*/ 142 w 165"/>
                <a:gd name="T29" fmla="*/ 158 h 197"/>
                <a:gd name="T30" fmla="*/ 165 w 165"/>
                <a:gd name="T31" fmla="*/ 101 h 197"/>
                <a:gd name="T32" fmla="*/ 94 w 165"/>
                <a:gd name="T33" fmla="*/ 19 h 197"/>
                <a:gd name="T34" fmla="*/ 9 w 165"/>
                <a:gd name="T35" fmla="*/ 101 h 197"/>
                <a:gd name="T36" fmla="*/ 65 w 165"/>
                <a:gd name="T37" fmla="*/ 29 h 197"/>
                <a:gd name="T38" fmla="*/ 48 w 165"/>
                <a:gd name="T39" fmla="*/ 61 h 197"/>
                <a:gd name="T40" fmla="*/ 19 w 165"/>
                <a:gd name="T41" fmla="*/ 129 h 197"/>
                <a:gd name="T42" fmla="*/ 18 w 165"/>
                <a:gd name="T43" fmla="*/ 136 h 197"/>
                <a:gd name="T44" fmla="*/ 9 w 165"/>
                <a:gd name="T45" fmla="*/ 101 h 197"/>
                <a:gd name="T46" fmla="*/ 125 w 165"/>
                <a:gd name="T47" fmla="*/ 168 h 197"/>
                <a:gd name="T48" fmla="*/ 82 w 165"/>
                <a:gd name="T49" fmla="*/ 187 h 197"/>
                <a:gd name="T50" fmla="*/ 82 w 165"/>
                <a:gd name="T51" fmla="*/ 187 h 197"/>
                <a:gd name="T52" fmla="*/ 82 w 165"/>
                <a:gd name="T53" fmla="*/ 187 h 197"/>
                <a:gd name="T54" fmla="*/ 40 w 165"/>
                <a:gd name="T55" fmla="*/ 168 h 197"/>
                <a:gd name="T56" fmla="*/ 28 w 165"/>
                <a:gd name="T57" fmla="*/ 130 h 197"/>
                <a:gd name="T58" fmla="*/ 56 w 165"/>
                <a:gd name="T59" fmla="*/ 66 h 197"/>
                <a:gd name="T60" fmla="*/ 82 w 165"/>
                <a:gd name="T61" fmla="*/ 16 h 197"/>
                <a:gd name="T62" fmla="*/ 109 w 165"/>
                <a:gd name="T63" fmla="*/ 66 h 197"/>
                <a:gd name="T64" fmla="*/ 137 w 165"/>
                <a:gd name="T65" fmla="*/ 130 h 197"/>
                <a:gd name="T66" fmla="*/ 125 w 165"/>
                <a:gd name="T67" fmla="*/ 168 h 197"/>
                <a:gd name="T68" fmla="*/ 146 w 165"/>
                <a:gd name="T69" fmla="*/ 136 h 197"/>
                <a:gd name="T70" fmla="*/ 146 w 165"/>
                <a:gd name="T71" fmla="*/ 129 h 197"/>
                <a:gd name="T72" fmla="*/ 117 w 165"/>
                <a:gd name="T73" fmla="*/ 61 h 197"/>
                <a:gd name="T74" fmla="*/ 99 w 165"/>
                <a:gd name="T75" fmla="*/ 29 h 197"/>
                <a:gd name="T76" fmla="*/ 156 w 165"/>
                <a:gd name="T77" fmla="*/ 101 h 197"/>
                <a:gd name="T78" fmla="*/ 146 w 165"/>
                <a:gd name="T79" fmla="*/ 13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5" h="197">
                  <a:moveTo>
                    <a:pt x="94" y="19"/>
                  </a:moveTo>
                  <a:cubicBezTo>
                    <a:pt x="91" y="14"/>
                    <a:pt x="89" y="8"/>
                    <a:pt x="87" y="2"/>
                  </a:cubicBezTo>
                  <a:cubicBezTo>
                    <a:pt x="86" y="1"/>
                    <a:pt x="85" y="0"/>
                    <a:pt x="84" y="0"/>
                  </a:cubicBezTo>
                  <a:cubicBezTo>
                    <a:pt x="83" y="0"/>
                    <a:pt x="83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0" y="0"/>
                    <a:pt x="79" y="1"/>
                    <a:pt x="78" y="2"/>
                  </a:cubicBezTo>
                  <a:cubicBezTo>
                    <a:pt x="76" y="8"/>
                    <a:pt x="73" y="14"/>
                    <a:pt x="71" y="19"/>
                  </a:cubicBezTo>
                  <a:cubicBezTo>
                    <a:pt x="30" y="25"/>
                    <a:pt x="0" y="59"/>
                    <a:pt x="0" y="101"/>
                  </a:cubicBezTo>
                  <a:cubicBezTo>
                    <a:pt x="0" y="122"/>
                    <a:pt x="8" y="142"/>
                    <a:pt x="23" y="158"/>
                  </a:cubicBezTo>
                  <a:cubicBezTo>
                    <a:pt x="25" y="164"/>
                    <a:pt x="29" y="169"/>
                    <a:pt x="33" y="174"/>
                  </a:cubicBezTo>
                  <a:cubicBezTo>
                    <a:pt x="45" y="188"/>
                    <a:pt x="64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101" y="197"/>
                    <a:pt x="119" y="188"/>
                    <a:pt x="132" y="174"/>
                  </a:cubicBezTo>
                  <a:cubicBezTo>
                    <a:pt x="136" y="169"/>
                    <a:pt x="139" y="164"/>
                    <a:pt x="142" y="158"/>
                  </a:cubicBezTo>
                  <a:cubicBezTo>
                    <a:pt x="157" y="142"/>
                    <a:pt x="165" y="122"/>
                    <a:pt x="165" y="101"/>
                  </a:cubicBezTo>
                  <a:cubicBezTo>
                    <a:pt x="165" y="59"/>
                    <a:pt x="135" y="25"/>
                    <a:pt x="94" y="19"/>
                  </a:cubicBezTo>
                  <a:close/>
                  <a:moveTo>
                    <a:pt x="9" y="101"/>
                  </a:moveTo>
                  <a:cubicBezTo>
                    <a:pt x="9" y="66"/>
                    <a:pt x="33" y="37"/>
                    <a:pt x="65" y="29"/>
                  </a:cubicBezTo>
                  <a:cubicBezTo>
                    <a:pt x="59" y="41"/>
                    <a:pt x="53" y="51"/>
                    <a:pt x="48" y="61"/>
                  </a:cubicBezTo>
                  <a:cubicBezTo>
                    <a:pt x="34" y="86"/>
                    <a:pt x="21" y="107"/>
                    <a:pt x="19" y="129"/>
                  </a:cubicBezTo>
                  <a:cubicBezTo>
                    <a:pt x="18" y="131"/>
                    <a:pt x="18" y="134"/>
                    <a:pt x="18" y="136"/>
                  </a:cubicBezTo>
                  <a:cubicBezTo>
                    <a:pt x="12" y="126"/>
                    <a:pt x="9" y="113"/>
                    <a:pt x="9" y="101"/>
                  </a:cubicBezTo>
                  <a:close/>
                  <a:moveTo>
                    <a:pt x="125" y="168"/>
                  </a:moveTo>
                  <a:cubicBezTo>
                    <a:pt x="114" y="180"/>
                    <a:pt x="98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66" y="187"/>
                    <a:pt x="51" y="180"/>
                    <a:pt x="40" y="168"/>
                  </a:cubicBezTo>
                  <a:cubicBezTo>
                    <a:pt x="30" y="157"/>
                    <a:pt x="26" y="143"/>
                    <a:pt x="28" y="130"/>
                  </a:cubicBezTo>
                  <a:cubicBezTo>
                    <a:pt x="30" y="110"/>
                    <a:pt x="42" y="90"/>
                    <a:pt x="56" y="66"/>
                  </a:cubicBezTo>
                  <a:cubicBezTo>
                    <a:pt x="64" y="51"/>
                    <a:pt x="74" y="34"/>
                    <a:pt x="82" y="16"/>
                  </a:cubicBezTo>
                  <a:cubicBezTo>
                    <a:pt x="91" y="34"/>
                    <a:pt x="100" y="51"/>
                    <a:pt x="109" y="66"/>
                  </a:cubicBezTo>
                  <a:cubicBezTo>
                    <a:pt x="122" y="90"/>
                    <a:pt x="134" y="110"/>
                    <a:pt x="137" y="130"/>
                  </a:cubicBezTo>
                  <a:cubicBezTo>
                    <a:pt x="138" y="143"/>
                    <a:pt x="134" y="157"/>
                    <a:pt x="125" y="168"/>
                  </a:cubicBezTo>
                  <a:close/>
                  <a:moveTo>
                    <a:pt x="146" y="136"/>
                  </a:moveTo>
                  <a:cubicBezTo>
                    <a:pt x="146" y="134"/>
                    <a:pt x="146" y="131"/>
                    <a:pt x="146" y="129"/>
                  </a:cubicBezTo>
                  <a:cubicBezTo>
                    <a:pt x="143" y="107"/>
                    <a:pt x="131" y="86"/>
                    <a:pt x="117" y="61"/>
                  </a:cubicBezTo>
                  <a:cubicBezTo>
                    <a:pt x="111" y="51"/>
                    <a:pt x="105" y="41"/>
                    <a:pt x="99" y="29"/>
                  </a:cubicBezTo>
                  <a:cubicBezTo>
                    <a:pt x="132" y="37"/>
                    <a:pt x="156" y="66"/>
                    <a:pt x="156" y="101"/>
                  </a:cubicBezTo>
                  <a:cubicBezTo>
                    <a:pt x="156" y="113"/>
                    <a:pt x="152" y="126"/>
                    <a:pt x="146" y="13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290662" y="3056121"/>
            <a:ext cx="5465245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Вид используемого топлива:</a:t>
            </a:r>
            <a:endParaRPr lang="ru-RU" sz="16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Основное топливо – уголь </a:t>
            </a:r>
            <a:r>
              <a:rPr lang="ru-RU" sz="1600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экибастузского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бассейна; </a:t>
            </a:r>
          </a:p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астопочное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топливо – топочный мазут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М-100.</a:t>
            </a:r>
            <a:endParaRPr lang="ru-RU" sz="16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grpSp>
        <p:nvGrpSpPr>
          <p:cNvPr id="26" name="Group 481"/>
          <p:cNvGrpSpPr/>
          <p:nvPr/>
        </p:nvGrpSpPr>
        <p:grpSpPr>
          <a:xfrm>
            <a:off x="519060" y="1830170"/>
            <a:ext cx="369888" cy="369888"/>
            <a:chOff x="-1550988" y="2722564"/>
            <a:chExt cx="369888" cy="369888"/>
          </a:xfrm>
        </p:grpSpPr>
        <p:sp>
          <p:nvSpPr>
            <p:cNvPr id="27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46258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0293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2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Информация об исполнении утвержденной инвестиционной </a:t>
            </a:r>
            <a:r>
              <a:rPr lang="ru-RU" b="0" dirty="0" smtClean="0">
                <a:solidFill>
                  <a:schemeClr val="accent1"/>
                </a:solidFill>
              </a:rPr>
              <a:t>программы за 202</a:t>
            </a:r>
            <a:r>
              <a:rPr lang="en-US" b="0" dirty="0" smtClean="0">
                <a:solidFill>
                  <a:schemeClr val="accent1"/>
                </a:solidFill>
              </a:rPr>
              <a:t>4</a:t>
            </a:r>
            <a:r>
              <a:rPr lang="ru-RU" b="0" dirty="0" smtClean="0">
                <a:solidFill>
                  <a:schemeClr val="accent1"/>
                </a:solidFill>
              </a:rPr>
              <a:t> год</a:t>
            </a:r>
            <a:endParaRPr lang="ru-RU" b="0" dirty="0">
              <a:solidFill>
                <a:schemeClr val="accent1"/>
              </a:solidFill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2732564"/>
              </p:ext>
            </p:extLst>
          </p:nvPr>
        </p:nvGraphicFramePr>
        <p:xfrm>
          <a:off x="242134" y="1441460"/>
          <a:ext cx="11517246" cy="4459534"/>
        </p:xfrm>
        <a:graphic>
          <a:graphicData uri="http://schemas.openxmlformats.org/drawingml/2006/table">
            <a:tbl>
              <a:tblPr/>
              <a:tblGrid>
                <a:gridCol w="18402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270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362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9329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2278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4245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3094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494047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488887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383750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717755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570271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304800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324465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304800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314632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55639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94967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314633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35974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  <a:gridCol w="265471">
                  <a:extLst>
                    <a:ext uri="{9D8B030D-6E8A-4147-A177-3AD203B41FA5}">
                      <a16:colId xmlns:a16="http://schemas.microsoft.com/office/drawing/2014/main" xmlns="" val="20021"/>
                    </a:ext>
                  </a:extLst>
                </a:gridCol>
                <a:gridCol w="255638">
                  <a:extLst>
                    <a:ext uri="{9D8B030D-6E8A-4147-A177-3AD203B41FA5}">
                      <a16:colId xmlns:a16="http://schemas.microsoft.com/office/drawing/2014/main" xmlns="" val="20022"/>
                    </a:ext>
                  </a:extLst>
                </a:gridCol>
                <a:gridCol w="255639">
                  <a:extLst>
                    <a:ext uri="{9D8B030D-6E8A-4147-A177-3AD203B41FA5}">
                      <a16:colId xmlns:a16="http://schemas.microsoft.com/office/drawing/2014/main" xmlns="" val="20023"/>
                    </a:ext>
                  </a:extLst>
                </a:gridCol>
                <a:gridCol w="481781">
                  <a:extLst>
                    <a:ext uri="{9D8B030D-6E8A-4147-A177-3AD203B41FA5}">
                      <a16:colId xmlns:a16="http://schemas.microsoft.com/office/drawing/2014/main" xmlns="" val="20024"/>
                    </a:ext>
                  </a:extLst>
                </a:gridCol>
                <a:gridCol w="875070">
                  <a:extLst>
                    <a:ext uri="{9D8B030D-6E8A-4147-A177-3AD203B41FA5}">
                      <a16:colId xmlns:a16="http://schemas.microsoft.com/office/drawing/2014/main" xmlns="" val="20025"/>
                    </a:ext>
                  </a:extLst>
                </a:gridCol>
              </a:tblGrid>
              <a:tr h="381120">
                <a:tc rowSpan="3">
                  <a:txBody>
                    <a:bodyPr/>
                    <a:lstStyle/>
                    <a:p>
                      <a:pPr algn="just" fontAlgn="ctr"/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ормация о плановых и фактических объемах предоставления регулируемых услу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тчет о прибылях и 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убытках*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умма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ормация о фактических условиях и размерах финансирования инвестиционной программы, тысяч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ормация о сопоставлении фактических показателей исполнения инвестиционной программы с показателями, утвержденными в инвестиционной программе**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азъяснение причин отклонения достигнутых фактических показателей от показателей в утвержденной инвестиционной программ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ценка повышения качества и надежности предоставляемых регулируемых услуг и эффективности деятельност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906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именование регулируемых услуг (товаров, работ) и обслуживаемая территор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именование мероприяти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Единица измерен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оличество в натуральных показателях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ериод предоставления услуги в рамках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тклонени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ичины отклонен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обственные средства (тыс. тенге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Заемные средств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юджетные средств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расхода сырья, материалов, топлива и энергии в натуральном выражен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потерь, %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аварийности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37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мортизац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ибыл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03948051"/>
                  </a:ext>
                </a:extLst>
              </a:tr>
              <a:tr h="199163"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4367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изводство </a:t>
                      </a:r>
                    </a:p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пловой энергии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питальный ремонт основного и пикового бойлеров блоков № 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т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6 78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47,96   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457,85   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09,89   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объема работ, стоимости ТМЦ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810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не установлено утвержденной инвестиционной программой 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е установлено утвержденной инвестиционной программой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-24,42</a:t>
                      </a:r>
                      <a:endParaRPr lang="ru-RU" sz="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не установлено утвержденной инвестиционной программой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я отсутствую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ыполненные  работы направлены на поддержание основных средств Электрической станции в рабочем состоянии, что позволяет обеспечить бесперебойную подачу тепла потребителя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43672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питальный ремонт основного и пикового бойлеров блоков № 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т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783,54   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266,91   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83,37   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-11,39</a:t>
                      </a:r>
                      <a:endParaRPr lang="ru-RU" sz="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4367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питальный ремонт основного и пикового  бойлеров блоков № 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548,50   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80,40   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</a:t>
                      </a:r>
                      <a:r>
                        <a:rPr lang="ru-RU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31,90   </a:t>
                      </a:r>
                      <a:endParaRPr lang="ru-RU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-18,30</a:t>
                      </a:r>
                      <a:endParaRPr lang="ru-RU" sz="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55171">
                <a:tc>
                  <a:txBody>
                    <a:bodyPr/>
                    <a:lstStyle/>
                    <a:p>
                      <a:pPr algn="l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86 787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 38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805,16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25,16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81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-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-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-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781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25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8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</a:t>
            </a:r>
            <a:r>
              <a:rPr lang="ru-RU" b="0" dirty="0" smtClean="0">
                <a:solidFill>
                  <a:schemeClr val="accent1"/>
                </a:solidFill>
              </a:rPr>
              <a:t>Информация о постатейном </a:t>
            </a:r>
            <a:r>
              <a:rPr lang="ru-RU" b="0" dirty="0">
                <a:solidFill>
                  <a:schemeClr val="accent1"/>
                </a:solidFill>
              </a:rPr>
              <a:t>исполнении </a:t>
            </a:r>
            <a:r>
              <a:rPr lang="ru-RU" b="0" dirty="0" smtClean="0">
                <a:solidFill>
                  <a:schemeClr val="accent1"/>
                </a:solidFill>
              </a:rPr>
              <a:t>утвержденной тарифной </a:t>
            </a:r>
            <a:r>
              <a:rPr lang="ru-RU" b="0" dirty="0">
                <a:solidFill>
                  <a:schemeClr val="accent1"/>
                </a:solidFill>
              </a:rPr>
              <a:t>сметы по производству тепловой энергии за </a:t>
            </a:r>
            <a:r>
              <a:rPr lang="ru-RU" b="0" dirty="0" smtClean="0">
                <a:solidFill>
                  <a:schemeClr val="accent1"/>
                </a:solidFill>
              </a:rPr>
              <a:t>2024 год</a:t>
            </a:r>
            <a:endParaRPr lang="ru-RU" b="0" dirty="0">
              <a:solidFill>
                <a:schemeClr val="accent1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1765724"/>
              </p:ext>
            </p:extLst>
          </p:nvPr>
        </p:nvGraphicFramePr>
        <p:xfrm>
          <a:off x="427091" y="901897"/>
          <a:ext cx="11170398" cy="5028852"/>
        </p:xfrm>
        <a:graphic>
          <a:graphicData uri="http://schemas.openxmlformats.org/drawingml/2006/table">
            <a:tbl>
              <a:tblPr/>
              <a:tblGrid>
                <a:gridCol w="34965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1659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9641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470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8154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2758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70218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6482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именование показателей тарифной сметы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диница измер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Предусмотрено в тарифной 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мете (приказ  </a:t>
                      </a:r>
                      <a:r>
                        <a:rPr lang="ru-RU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№ 85-ОД от 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04.11.2024) </a:t>
                      </a:r>
                      <a:endParaRPr lang="ru-RU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клонения, в %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чины отклон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656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I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траты на производство  товаров и предоставление услуг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3 14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6 604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1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атериальные затраты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1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23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4 73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81                                 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16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ырье и материал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0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6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55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Рост цен на сырье и материал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207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оплив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0 93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3 67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8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бъемов оказываемых услуг, себестоимости добычи угля, </a:t>
                      </a:r>
                      <a:r>
                        <a:rPr lang="ru-RU" sz="9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д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тариф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975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траты на оплату труда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 88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 37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                               1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9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в том числе: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226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работная плата производственных рабочих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 51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 94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произошло за счет роста  среднемесячной заработной платы в 2024 г 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975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оциальный налог и обязательное страховани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1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3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Фактические затраты сложились исходя из</a:t>
                      </a:r>
                    </a:p>
                    <a:p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фактической численности, не превышающей нормативную, и ставок согласно требованиям законодательств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739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числения обязательные .профес.пенсион.взнос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1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8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произошло  за счет роста заработной платы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319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числения на обязательное медицинское страхова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8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4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произошло за счет роста ставки ОСМС с 1 января 2022 г.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152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мортизац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3 81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2 06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                                </a:t>
                      </a:r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22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произошло за счет </a:t>
                      </a:r>
                      <a:b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</a:b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ввода объектов в эксплуатацию после 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апитального ремонт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639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Ремонт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 63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5 072</a:t>
                      </a:r>
                      <a:endParaRPr lang="ru-RU" sz="900" b="1" i="0" u="none" strike="noStrike" dirty="0">
                        <a:solidFill>
                          <a:schemeClr val="accent5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25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связано с ростом цен на материалы, запчасти, услуги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очие затра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8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9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354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.1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ренда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емли (плата за использование земельных ресурсов) </a:t>
                      </a:r>
                    </a:p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4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Рост связан с заключением новых договоров аренды земельных участков,</a:t>
                      </a: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в связи с получением в аренду в 2023-2024 </a:t>
                      </a:r>
                      <a:r>
                        <a:rPr lang="ru-RU" sz="900" b="0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гг</a:t>
                      </a: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году новых земельных участков</a:t>
                      </a:r>
                      <a:endParaRPr lang="ru-RU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660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2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та за воду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плата за использование водных ресурсов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Увеличение произошло за счет роста 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МРП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43539419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3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логовые платежи и сборы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Уменьшение произошло в связи с уменьшением остаточной стоимости зданий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221363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005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732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05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ЕЭК: Отчет </a:t>
            </a:r>
            <a:r>
              <a:rPr lang="ru-RU" dirty="0" smtClean="0"/>
              <a:t>о постатейном исполнении утвержденной тарифной </a:t>
            </a:r>
            <a:r>
              <a:rPr lang="ru-RU" dirty="0"/>
              <a:t>сметы по производству тепловой энергии за </a:t>
            </a:r>
            <a:r>
              <a:rPr lang="ru-RU" dirty="0" smtClean="0"/>
              <a:t>2024 </a:t>
            </a:r>
            <a:r>
              <a:rPr lang="ru-RU" dirty="0"/>
              <a:t>год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2534703"/>
              </p:ext>
            </p:extLst>
          </p:nvPr>
        </p:nvGraphicFramePr>
        <p:xfrm>
          <a:off x="248355" y="1783849"/>
          <a:ext cx="11535611" cy="3157136"/>
        </p:xfrm>
        <a:graphic>
          <a:graphicData uri="http://schemas.openxmlformats.org/drawingml/2006/table">
            <a:tbl>
              <a:tblPr/>
              <a:tblGrid>
                <a:gridCol w="3454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9988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748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1775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865087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2611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периода, всего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79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94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3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11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щие и административные расходы, всего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78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93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37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1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работная плата административного персонала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затрат произошло за счет повышения</a:t>
                      </a: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заработной плат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611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2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ц. налог и социальные отчисления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8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956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3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числения на обязательное мед. страховани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8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110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4.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сторонних организаций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1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14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  <a:endParaRPr lang="ru-RU" sz="90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endParaRPr lang="ru-RU" sz="9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915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4.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по предоставлению ЭТП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1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74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baseline="0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затрат произошло за счет увеличения стоимости услуг ЭТП с 01.04.2024 г</a:t>
                      </a:r>
                      <a:r>
                        <a:rPr lang="ru-RU" sz="9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.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915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4.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по технической экспертизы инвестиционной программ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тклонения отсутствуют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572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по реализации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затрат произошло за счет повышения</a:t>
                      </a: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заработной плат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637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I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его затрат на предоставление услуг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 94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0 98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5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22074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V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ход (РБА*СП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57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2611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быль (убыток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86 78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1673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его доходов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 51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 20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0736433"/>
              </p:ext>
            </p:extLst>
          </p:nvPr>
        </p:nvGraphicFramePr>
        <p:xfrm>
          <a:off x="247224" y="1077910"/>
          <a:ext cx="11544300" cy="688064"/>
        </p:xfrm>
        <a:graphic>
          <a:graphicData uri="http://schemas.openxmlformats.org/drawingml/2006/table">
            <a:tbl>
              <a:tblPr/>
              <a:tblGrid>
                <a:gridCol w="354180">
                  <a:extLst>
                    <a:ext uri="{9D8B030D-6E8A-4147-A177-3AD203B41FA5}">
                      <a16:colId xmlns:a16="http://schemas.microsoft.com/office/drawing/2014/main" xmlns="" val="3873928305"/>
                    </a:ext>
                  </a:extLst>
                </a:gridCol>
                <a:gridCol w="2989007">
                  <a:extLst>
                    <a:ext uri="{9D8B030D-6E8A-4147-A177-3AD203B41FA5}">
                      <a16:colId xmlns:a16="http://schemas.microsoft.com/office/drawing/2014/main" xmlns="" val="693392545"/>
                    </a:ext>
                  </a:extLst>
                </a:gridCol>
                <a:gridCol w="924232">
                  <a:extLst>
                    <a:ext uri="{9D8B030D-6E8A-4147-A177-3AD203B41FA5}">
                      <a16:colId xmlns:a16="http://schemas.microsoft.com/office/drawing/2014/main" xmlns="" val="3514993770"/>
                    </a:ext>
                  </a:extLst>
                </a:gridCol>
                <a:gridCol w="1465007">
                  <a:extLst>
                    <a:ext uri="{9D8B030D-6E8A-4147-A177-3AD203B41FA5}">
                      <a16:colId xmlns:a16="http://schemas.microsoft.com/office/drawing/2014/main" xmlns="" val="3660104766"/>
                    </a:ext>
                  </a:extLst>
                </a:gridCol>
                <a:gridCol w="1236986">
                  <a:extLst>
                    <a:ext uri="{9D8B030D-6E8A-4147-A177-3AD203B41FA5}">
                      <a16:colId xmlns:a16="http://schemas.microsoft.com/office/drawing/2014/main" xmlns="" val="840944139"/>
                    </a:ext>
                  </a:extLst>
                </a:gridCol>
                <a:gridCol w="700982">
                  <a:extLst>
                    <a:ext uri="{9D8B030D-6E8A-4147-A177-3AD203B41FA5}">
                      <a16:colId xmlns:a16="http://schemas.microsoft.com/office/drawing/2014/main" xmlns="" val="3001708712"/>
                    </a:ext>
                  </a:extLst>
                </a:gridCol>
                <a:gridCol w="3873906">
                  <a:extLst>
                    <a:ext uri="{9D8B030D-6E8A-4147-A177-3AD203B41FA5}">
                      <a16:colId xmlns:a16="http://schemas.microsoft.com/office/drawing/2014/main" xmlns="" val="1747598430"/>
                    </a:ext>
                  </a:extLst>
                </a:gridCol>
              </a:tblGrid>
              <a:tr h="6880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именование показателей тарифной сметы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диница измер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Предусмотрено в тарифной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мете (приказ  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№ 85-ОД от 04.11.2024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)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/>
                      </a:r>
                      <a:b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</a:b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клонения, в %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чины отклон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96363508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4082742"/>
              </p:ext>
            </p:extLst>
          </p:nvPr>
        </p:nvGraphicFramePr>
        <p:xfrm>
          <a:off x="239667" y="4954565"/>
          <a:ext cx="11551857" cy="679881"/>
        </p:xfrm>
        <a:graphic>
          <a:graphicData uri="http://schemas.openxmlformats.org/drawingml/2006/table">
            <a:tbl>
              <a:tblPr/>
              <a:tblGrid>
                <a:gridCol w="34428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0801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1508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776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3219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1576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86874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17032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ъем предоставляемых услуг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Гкал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,82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,72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 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бъемов произошло за счет увеличения спроса потребителей тепловой энерги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53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риф (без НДС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нге/Гкал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82,8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882,8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21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равочно: фактическая себестоимость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нге/Гкал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823,5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8550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157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99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 smtClean="0">
                <a:solidFill>
                  <a:schemeClr val="accent1"/>
                </a:solidFill>
              </a:rPr>
              <a:t>ЕЭК: Информация о </a:t>
            </a:r>
            <a:r>
              <a:rPr lang="ru-RU" b="0" dirty="0">
                <a:solidFill>
                  <a:schemeClr val="accent1"/>
                </a:solidFill>
              </a:rPr>
              <a:t>соблюдении показателей качества и надежности регулируемых услуг и достижении показателей эффективности деятельности за </a:t>
            </a:r>
            <a:r>
              <a:rPr lang="ru-RU" b="0" dirty="0" smtClean="0">
                <a:solidFill>
                  <a:schemeClr val="accent1"/>
                </a:solidFill>
              </a:rPr>
              <a:t>2024 год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7499" y="834732"/>
            <a:ext cx="112928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39750" algn="just"/>
            <a:r>
              <a:rPr lang="ru-RU" sz="1600" dirty="0">
                <a:solidFill>
                  <a:prstClr val="black"/>
                </a:solidFill>
              </a:rPr>
              <a:t>Для АО «ЕЭК» показатели качества и надежности регулируемых услуг и показатели эффективности деятельности </a:t>
            </a:r>
            <a:r>
              <a:rPr lang="ru-RU" sz="1600" b="1" dirty="0">
                <a:solidFill>
                  <a:prstClr val="black"/>
                </a:solidFill>
              </a:rPr>
              <a:t>не разрабатывались и не  утверждались. </a:t>
            </a:r>
            <a:endParaRPr lang="ru-RU" sz="1600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17500" y="1362389"/>
            <a:ext cx="112928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В результате проведенных капитальных ремонтов АО «ЕЭК» достигнуты следующие показатели</a:t>
            </a:r>
            <a:endParaRPr lang="ru-RU" sz="1600" dirty="0"/>
          </a:p>
        </p:txBody>
      </p:sp>
      <p:grpSp>
        <p:nvGrpSpPr>
          <p:cNvPr id="23" name="Group 481"/>
          <p:cNvGrpSpPr/>
          <p:nvPr/>
        </p:nvGrpSpPr>
        <p:grpSpPr>
          <a:xfrm>
            <a:off x="462199" y="757231"/>
            <a:ext cx="369888" cy="369888"/>
            <a:chOff x="-1550988" y="2722564"/>
            <a:chExt cx="369888" cy="369888"/>
          </a:xfrm>
        </p:grpSpPr>
        <p:sp>
          <p:nvSpPr>
            <p:cNvPr id="24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5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6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6084424"/>
              </p:ext>
            </p:extLst>
          </p:nvPr>
        </p:nvGraphicFramePr>
        <p:xfrm>
          <a:off x="392528" y="1700943"/>
          <a:ext cx="11280027" cy="2186355"/>
        </p:xfrm>
        <a:graphic>
          <a:graphicData uri="http://schemas.openxmlformats.org/drawingml/2006/table">
            <a:tbl>
              <a:tblPr/>
              <a:tblGrid>
                <a:gridCol w="28538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499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7637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8783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7115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69965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50965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6451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дежности и качеств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диница</a:t>
                      </a:r>
                      <a:r>
                        <a:rPr lang="ru-RU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измерения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</a:t>
                      </a:r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</a:t>
                      </a:r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блюдения показателей надежности и качества 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ы (обоснование)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соблюдения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дежности и качества 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7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271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нижение износа основных средств, %</a:t>
                      </a:r>
                    </a:p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утверждался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17</a:t>
                      </a: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,7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полнение мероприятий, предусмотренных в утвержденной инвестиционной программе позволили снизить уровень износа основных и пиковых </a:t>
                      </a:r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йлеров блоков №1,3,6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действованн</a:t>
                      </a:r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ых 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производстве тепловой энергии,</a:t>
                      </a:r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в целом на </a:t>
                      </a: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7</a:t>
                      </a:r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 в т.ч.: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1 – 24,42%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3 – 11,39%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6 – 18,3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достигнут</a:t>
                      </a:r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7061338"/>
                  </a:ext>
                </a:extLst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1262699"/>
              </p:ext>
            </p:extLst>
          </p:nvPr>
        </p:nvGraphicFramePr>
        <p:xfrm>
          <a:off x="392528" y="4153036"/>
          <a:ext cx="11280027" cy="2311803"/>
        </p:xfrm>
        <a:graphic>
          <a:graphicData uri="http://schemas.openxmlformats.org/drawingml/2006/table">
            <a:tbl>
              <a:tblPr/>
              <a:tblGrid>
                <a:gridCol w="28538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499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7637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0525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5373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73449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47481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7191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диница</a:t>
                      </a:r>
                      <a:r>
                        <a:rPr lang="ru-RU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измерения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</a:t>
                      </a:r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</a:t>
                      </a:r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я показателей 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ы (обоснование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достижения</a:t>
                      </a:r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ей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7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271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нижение износа основных средств, %</a:t>
                      </a:r>
                    </a:p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утверждался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</a:t>
                      </a:r>
                      <a:r>
                        <a:rPr lang="en-US" sz="1000" b="0" i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17</a:t>
                      </a: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,7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полнение мероприятий, предусмотренных в утвержденной инвестиционной программе позволили снизить уровень износа основных и пиковых </a:t>
                      </a:r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йлеров блоков 1,3,6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действованн</a:t>
                      </a:r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ых 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производстве тепловой энергии,</a:t>
                      </a:r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в целом на </a:t>
                      </a: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7</a:t>
                      </a:r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, в т.ч.: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1 – 24,42%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3 – 11,39%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6 – 18,3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достигнут</a:t>
                      </a:r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70613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9703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003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0" name="Слайд think-cell" r:id="rId22" imgW="594" imgH="595" progId="TCLayout.ActiveDocument.1">
                  <p:embed/>
                </p:oleObj>
              </mc:Choice>
              <mc:Fallback>
                <p:oleObj name="Слайд think-cell" r:id="rId22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b="0" dirty="0" smtClean="0">
                <a:solidFill>
                  <a:schemeClr val="accent1"/>
                </a:solidFill>
              </a:rPr>
              <a:t>ЕЭК: Информация об основных финансово-экономических показателях и </a:t>
            </a:r>
            <a:r>
              <a:rPr lang="ru-RU" dirty="0" smtClean="0"/>
              <a:t>об </a:t>
            </a:r>
            <a:r>
              <a:rPr lang="ru-RU" dirty="0"/>
              <a:t>объемах предоставленных услуг по </a:t>
            </a:r>
            <a:r>
              <a:rPr lang="ru-RU" b="0" dirty="0" smtClean="0">
                <a:solidFill>
                  <a:schemeClr val="accent1"/>
                </a:solidFill>
              </a:rPr>
              <a:t>производству тепловой энергии за 2024 год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31" name="Freeform 140"/>
          <p:cNvSpPr/>
          <p:nvPr/>
        </p:nvSpPr>
        <p:spPr>
          <a:xfrm>
            <a:off x="341312" y="1450644"/>
            <a:ext cx="5475290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показатели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68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244121"/>
              </p:ext>
            </p:extLst>
          </p:nvPr>
        </p:nvGraphicFramePr>
        <p:xfrm>
          <a:off x="2141538" y="2343150"/>
          <a:ext cx="3803650" cy="1446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aphicFrame>
        <p:nvGraphicFramePr>
          <p:cNvPr id="105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19584217"/>
              </p:ext>
            </p:extLst>
          </p:nvPr>
        </p:nvGraphicFramePr>
        <p:xfrm>
          <a:off x="2089150" y="1495425"/>
          <a:ext cx="2166938" cy="86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468313" y="1787278"/>
            <a:ext cx="1524000" cy="369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Объем оказываемых услуг, тыс. Гкал</a:t>
            </a:r>
            <a:endParaRPr lang="ru-RU" sz="1200" dirty="0">
              <a:latin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81013" y="2713322"/>
            <a:ext cx="1668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Доход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81012" y="3268469"/>
            <a:ext cx="1770482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Затраты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68313" y="4606925"/>
            <a:ext cx="1508125" cy="3683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Себестоимость, </a:t>
            </a:r>
          </a:p>
          <a:p>
            <a:r>
              <a:rPr lang="ru-RU" sz="1200" dirty="0" smtClean="0">
                <a:latin typeface="+mn-lt"/>
              </a:rPr>
              <a:t>тенге/ Гкал</a:t>
            </a:r>
            <a:endParaRPr lang="ru-RU" sz="1200" dirty="0"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55613" y="3941763"/>
            <a:ext cx="15287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/>
              <a:t>Убыток, млн</a:t>
            </a:r>
            <a:r>
              <a:rPr lang="ru-RU" sz="1200" dirty="0"/>
              <a:t>. </a:t>
            </a:r>
            <a:r>
              <a:rPr lang="ru-RU" sz="1200" dirty="0" smtClean="0"/>
              <a:t>тенге</a:t>
            </a:r>
            <a:endParaRPr lang="ru-RU" sz="1200" dirty="0" smtClean="0">
              <a:latin typeface="+mn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81012" y="5356914"/>
            <a:ext cx="1522413" cy="18415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Тариф, тенге/ Гкал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69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7303978"/>
              </p:ext>
            </p:extLst>
          </p:nvPr>
        </p:nvGraphicFramePr>
        <p:xfrm>
          <a:off x="1654175" y="4284663"/>
          <a:ext cx="2960688" cy="895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48" name="Rectangle 119"/>
          <p:cNvSpPr/>
          <p:nvPr/>
        </p:nvSpPr>
        <p:spPr>
          <a:xfrm>
            <a:off x="-1587" y="5963906"/>
            <a:ext cx="12192000" cy="564780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/>
              <a:t>Действующие тарифы </a:t>
            </a:r>
            <a:r>
              <a:rPr lang="ru-RU" dirty="0"/>
              <a:t>не </a:t>
            </a:r>
            <a:r>
              <a:rPr lang="ru-RU" dirty="0" smtClean="0"/>
              <a:t>компенсируют </a:t>
            </a:r>
            <a:r>
              <a:rPr lang="ru-RU" dirty="0"/>
              <a:t>затраты на </a:t>
            </a:r>
            <a:r>
              <a:rPr lang="ru-RU" dirty="0" smtClean="0"/>
              <a:t>регулируемые услуги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70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93382943"/>
              </p:ext>
            </p:extLst>
          </p:nvPr>
        </p:nvGraphicFramePr>
        <p:xfrm>
          <a:off x="1365250" y="4978400"/>
          <a:ext cx="2960688" cy="882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710787" y="1070700"/>
            <a:ext cx="4765778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сновные финансово-экономические показатели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801868" y="1091338"/>
            <a:ext cx="5191432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бъемы предоставленных регулируемых услуг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grpSp>
        <p:nvGrpSpPr>
          <p:cNvPr id="37" name="Group 3407"/>
          <p:cNvGrpSpPr/>
          <p:nvPr/>
        </p:nvGrpSpPr>
        <p:grpSpPr>
          <a:xfrm>
            <a:off x="317499" y="973863"/>
            <a:ext cx="369887" cy="369888"/>
            <a:chOff x="6277590" y="1074738"/>
            <a:chExt cx="369887" cy="369888"/>
          </a:xfrm>
          <a:solidFill>
            <a:schemeClr val="tx2"/>
          </a:solidFill>
        </p:grpSpPr>
        <p:sp>
          <p:nvSpPr>
            <p:cNvPr id="38" name="Freeform 2647"/>
            <p:cNvSpPr>
              <a:spLocks noEditPoints="1"/>
            </p:cNvSpPr>
            <p:nvPr/>
          </p:nvSpPr>
          <p:spPr bwMode="auto">
            <a:xfrm>
              <a:off x="6301402" y="1098551"/>
              <a:ext cx="61913" cy="63500"/>
            </a:xfrm>
            <a:custGeom>
              <a:avLst/>
              <a:gdLst>
                <a:gd name="T0" fmla="*/ 24 w 48"/>
                <a:gd name="T1" fmla="*/ 48 h 48"/>
                <a:gd name="T2" fmla="*/ 48 w 48"/>
                <a:gd name="T3" fmla="*/ 24 h 48"/>
                <a:gd name="T4" fmla="*/ 24 w 48"/>
                <a:gd name="T5" fmla="*/ 0 h 48"/>
                <a:gd name="T6" fmla="*/ 0 w 48"/>
                <a:gd name="T7" fmla="*/ 24 h 48"/>
                <a:gd name="T8" fmla="*/ 24 w 48"/>
                <a:gd name="T9" fmla="*/ 48 h 48"/>
                <a:gd name="T10" fmla="*/ 24 w 48"/>
                <a:gd name="T11" fmla="*/ 9 h 48"/>
                <a:gd name="T12" fmla="*/ 39 w 48"/>
                <a:gd name="T13" fmla="*/ 24 h 48"/>
                <a:gd name="T14" fmla="*/ 24 w 48"/>
                <a:gd name="T15" fmla="*/ 39 h 48"/>
                <a:gd name="T16" fmla="*/ 9 w 48"/>
                <a:gd name="T17" fmla="*/ 24 h 48"/>
                <a:gd name="T18" fmla="*/ 24 w 48"/>
                <a:gd name="T19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38" y="48"/>
                    <a:pt x="48" y="37"/>
                    <a:pt x="48" y="24"/>
                  </a:cubicBezTo>
                  <a:cubicBezTo>
                    <a:pt x="48" y="11"/>
                    <a:pt x="38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  <a:moveTo>
                    <a:pt x="24" y="9"/>
                  </a:moveTo>
                  <a:cubicBezTo>
                    <a:pt x="33" y="9"/>
                    <a:pt x="39" y="16"/>
                    <a:pt x="39" y="24"/>
                  </a:cubicBezTo>
                  <a:cubicBezTo>
                    <a:pt x="39" y="32"/>
                    <a:pt x="33" y="39"/>
                    <a:pt x="24" y="39"/>
                  </a:cubicBezTo>
                  <a:cubicBezTo>
                    <a:pt x="16" y="39"/>
                    <a:pt x="9" y="32"/>
                    <a:pt x="9" y="24"/>
                  </a:cubicBezTo>
                  <a:cubicBezTo>
                    <a:pt x="9" y="16"/>
                    <a:pt x="16" y="9"/>
                    <a:pt x="2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648"/>
            <p:cNvSpPr>
              <a:spLocks noEditPoints="1"/>
            </p:cNvSpPr>
            <p:nvPr/>
          </p:nvSpPr>
          <p:spPr bwMode="auto">
            <a:xfrm>
              <a:off x="6277590" y="1328738"/>
              <a:ext cx="88900" cy="88900"/>
            </a:xfrm>
            <a:custGeom>
              <a:avLst/>
              <a:gdLst>
                <a:gd name="T0" fmla="*/ 34 w 68"/>
                <a:gd name="T1" fmla="*/ 0 h 68"/>
                <a:gd name="T2" fmla="*/ 0 w 68"/>
                <a:gd name="T3" fmla="*/ 34 h 68"/>
                <a:gd name="T4" fmla="*/ 34 w 68"/>
                <a:gd name="T5" fmla="*/ 68 h 68"/>
                <a:gd name="T6" fmla="*/ 68 w 68"/>
                <a:gd name="T7" fmla="*/ 34 h 68"/>
                <a:gd name="T8" fmla="*/ 34 w 68"/>
                <a:gd name="T9" fmla="*/ 0 h 68"/>
                <a:gd name="T10" fmla="*/ 34 w 68"/>
                <a:gd name="T11" fmla="*/ 59 h 68"/>
                <a:gd name="T12" fmla="*/ 9 w 68"/>
                <a:gd name="T13" fmla="*/ 34 h 68"/>
                <a:gd name="T14" fmla="*/ 34 w 68"/>
                <a:gd name="T15" fmla="*/ 9 h 68"/>
                <a:gd name="T16" fmla="*/ 59 w 68"/>
                <a:gd name="T17" fmla="*/ 34 h 68"/>
                <a:gd name="T18" fmla="*/ 34 w 68"/>
                <a:gd name="T19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0"/>
                  </a:moveTo>
                  <a:cubicBezTo>
                    <a:pt x="16" y="0"/>
                    <a:pt x="0" y="16"/>
                    <a:pt x="0" y="34"/>
                  </a:cubicBezTo>
                  <a:cubicBezTo>
                    <a:pt x="0" y="53"/>
                    <a:pt x="16" y="68"/>
                    <a:pt x="34" y="68"/>
                  </a:cubicBez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lose/>
                  <a:moveTo>
                    <a:pt x="34" y="59"/>
                  </a:moveTo>
                  <a:cubicBezTo>
                    <a:pt x="21" y="59"/>
                    <a:pt x="9" y="48"/>
                    <a:pt x="9" y="34"/>
                  </a:cubicBezTo>
                  <a:cubicBezTo>
                    <a:pt x="9" y="21"/>
                    <a:pt x="21" y="9"/>
                    <a:pt x="34" y="9"/>
                  </a:cubicBezTo>
                  <a:cubicBezTo>
                    <a:pt x="48" y="9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649"/>
            <p:cNvSpPr>
              <a:spLocks noEditPoints="1"/>
            </p:cNvSpPr>
            <p:nvPr/>
          </p:nvSpPr>
          <p:spPr bwMode="auto">
            <a:xfrm>
              <a:off x="6533177" y="1328738"/>
              <a:ext cx="114300" cy="115888"/>
            </a:xfrm>
            <a:custGeom>
              <a:avLst/>
              <a:gdLst>
                <a:gd name="T0" fmla="*/ 44 w 88"/>
                <a:gd name="T1" fmla="*/ 0 h 88"/>
                <a:gd name="T2" fmla="*/ 0 w 88"/>
                <a:gd name="T3" fmla="*/ 44 h 88"/>
                <a:gd name="T4" fmla="*/ 44 w 88"/>
                <a:gd name="T5" fmla="*/ 88 h 88"/>
                <a:gd name="T6" fmla="*/ 88 w 88"/>
                <a:gd name="T7" fmla="*/ 44 h 88"/>
                <a:gd name="T8" fmla="*/ 44 w 88"/>
                <a:gd name="T9" fmla="*/ 0 h 88"/>
                <a:gd name="T10" fmla="*/ 44 w 88"/>
                <a:gd name="T11" fmla="*/ 79 h 88"/>
                <a:gd name="T12" fmla="*/ 9 w 88"/>
                <a:gd name="T13" fmla="*/ 44 h 88"/>
                <a:gd name="T14" fmla="*/ 44 w 88"/>
                <a:gd name="T15" fmla="*/ 9 h 88"/>
                <a:gd name="T16" fmla="*/ 79 w 88"/>
                <a:gd name="T17" fmla="*/ 44 h 88"/>
                <a:gd name="T18" fmla="*/ 44 w 88"/>
                <a:gd name="T19" fmla="*/ 7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lose/>
                  <a:moveTo>
                    <a:pt x="44" y="79"/>
                  </a:moveTo>
                  <a:cubicBezTo>
                    <a:pt x="25" y="79"/>
                    <a:pt x="9" y="63"/>
                    <a:pt x="9" y="44"/>
                  </a:cubicBezTo>
                  <a:cubicBezTo>
                    <a:pt x="9" y="25"/>
                    <a:pt x="25" y="9"/>
                    <a:pt x="44" y="9"/>
                  </a:cubicBezTo>
                  <a:cubicBezTo>
                    <a:pt x="63" y="9"/>
                    <a:pt x="79" y="25"/>
                    <a:pt x="79" y="44"/>
                  </a:cubicBezTo>
                  <a:cubicBezTo>
                    <a:pt x="79" y="63"/>
                    <a:pt x="63" y="79"/>
                    <a:pt x="44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50"/>
            <p:cNvSpPr>
              <a:spLocks noEditPoints="1"/>
            </p:cNvSpPr>
            <p:nvPr/>
          </p:nvSpPr>
          <p:spPr bwMode="auto">
            <a:xfrm>
              <a:off x="6558577" y="1074738"/>
              <a:ext cx="88900" cy="88900"/>
            </a:xfrm>
            <a:custGeom>
              <a:avLst/>
              <a:gdLst>
                <a:gd name="T0" fmla="*/ 34 w 68"/>
                <a:gd name="T1" fmla="*/ 68 h 68"/>
                <a:gd name="T2" fmla="*/ 68 w 68"/>
                <a:gd name="T3" fmla="*/ 34 h 68"/>
                <a:gd name="T4" fmla="*/ 34 w 68"/>
                <a:gd name="T5" fmla="*/ 0 h 68"/>
                <a:gd name="T6" fmla="*/ 0 w 68"/>
                <a:gd name="T7" fmla="*/ 34 h 68"/>
                <a:gd name="T8" fmla="*/ 34 w 68"/>
                <a:gd name="T9" fmla="*/ 68 h 68"/>
                <a:gd name="T10" fmla="*/ 34 w 68"/>
                <a:gd name="T11" fmla="*/ 10 h 68"/>
                <a:gd name="T12" fmla="*/ 59 w 68"/>
                <a:gd name="T13" fmla="*/ 34 h 68"/>
                <a:gd name="T14" fmla="*/ 34 w 68"/>
                <a:gd name="T15" fmla="*/ 59 h 68"/>
                <a:gd name="T16" fmla="*/ 9 w 68"/>
                <a:gd name="T17" fmla="*/ 34 h 68"/>
                <a:gd name="T18" fmla="*/ 34 w 68"/>
                <a:gd name="T19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ubicBezTo>
                    <a:pt x="15" y="0"/>
                    <a:pt x="0" y="16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lose/>
                  <a:moveTo>
                    <a:pt x="34" y="10"/>
                  </a:moveTo>
                  <a:cubicBezTo>
                    <a:pt x="48" y="10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ubicBezTo>
                    <a:pt x="20" y="59"/>
                    <a:pt x="9" y="48"/>
                    <a:pt x="9" y="34"/>
                  </a:cubicBezTo>
                  <a:cubicBezTo>
                    <a:pt x="9" y="21"/>
                    <a:pt x="20" y="10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51"/>
            <p:cNvSpPr>
              <a:spLocks/>
            </p:cNvSpPr>
            <p:nvPr/>
          </p:nvSpPr>
          <p:spPr bwMode="auto">
            <a:xfrm>
              <a:off x="6361727" y="1152526"/>
              <a:ext cx="203200" cy="195263"/>
            </a:xfrm>
            <a:custGeom>
              <a:avLst/>
              <a:gdLst>
                <a:gd name="T0" fmla="*/ 108 w 157"/>
                <a:gd name="T1" fmla="*/ 119 h 150"/>
                <a:gd name="T2" fmla="*/ 133 w 157"/>
                <a:gd name="T3" fmla="*/ 144 h 150"/>
                <a:gd name="T4" fmla="*/ 136 w 157"/>
                <a:gd name="T5" fmla="*/ 145 h 150"/>
                <a:gd name="T6" fmla="*/ 139 w 157"/>
                <a:gd name="T7" fmla="*/ 144 h 150"/>
                <a:gd name="T8" fmla="*/ 139 w 157"/>
                <a:gd name="T9" fmla="*/ 138 h 150"/>
                <a:gd name="T10" fmla="*/ 114 w 157"/>
                <a:gd name="T11" fmla="*/ 113 h 150"/>
                <a:gd name="T12" fmla="*/ 129 w 157"/>
                <a:gd name="T13" fmla="*/ 79 h 150"/>
                <a:gd name="T14" fmla="*/ 125 w 157"/>
                <a:gd name="T15" fmla="*/ 74 h 150"/>
                <a:gd name="T16" fmla="*/ 120 w 157"/>
                <a:gd name="T17" fmla="*/ 78 h 150"/>
                <a:gd name="T18" fmla="*/ 66 w 157"/>
                <a:gd name="T19" fmla="*/ 126 h 150"/>
                <a:gd name="T20" fmla="*/ 39 w 157"/>
                <a:gd name="T21" fmla="*/ 119 h 150"/>
                <a:gd name="T22" fmla="*/ 39 w 157"/>
                <a:gd name="T23" fmla="*/ 119 h 150"/>
                <a:gd name="T24" fmla="*/ 37 w 157"/>
                <a:gd name="T25" fmla="*/ 118 h 150"/>
                <a:gd name="T26" fmla="*/ 12 w 157"/>
                <a:gd name="T27" fmla="*/ 72 h 150"/>
                <a:gd name="T28" fmla="*/ 66 w 157"/>
                <a:gd name="T29" fmla="*/ 17 h 150"/>
                <a:gd name="T30" fmla="*/ 117 w 157"/>
                <a:gd name="T31" fmla="*/ 55 h 150"/>
                <a:gd name="T32" fmla="*/ 123 w 157"/>
                <a:gd name="T33" fmla="*/ 58 h 150"/>
                <a:gd name="T34" fmla="*/ 126 w 157"/>
                <a:gd name="T35" fmla="*/ 52 h 150"/>
                <a:gd name="T36" fmla="*/ 122 w 157"/>
                <a:gd name="T37" fmla="*/ 42 h 150"/>
                <a:gd name="T38" fmla="*/ 155 w 157"/>
                <a:gd name="T39" fmla="*/ 9 h 150"/>
                <a:gd name="T40" fmla="*/ 155 w 157"/>
                <a:gd name="T41" fmla="*/ 2 h 150"/>
                <a:gd name="T42" fmla="*/ 149 w 157"/>
                <a:gd name="T43" fmla="*/ 2 h 150"/>
                <a:gd name="T44" fmla="*/ 117 w 157"/>
                <a:gd name="T45" fmla="*/ 34 h 150"/>
                <a:gd name="T46" fmla="*/ 66 w 157"/>
                <a:gd name="T47" fmla="*/ 8 h 150"/>
                <a:gd name="T48" fmla="*/ 25 w 157"/>
                <a:gd name="T49" fmla="*/ 23 h 150"/>
                <a:gd name="T50" fmla="*/ 8 w 157"/>
                <a:gd name="T51" fmla="*/ 7 h 150"/>
                <a:gd name="T52" fmla="*/ 2 w 157"/>
                <a:gd name="T53" fmla="*/ 7 h 150"/>
                <a:gd name="T54" fmla="*/ 2 w 157"/>
                <a:gd name="T55" fmla="*/ 13 h 150"/>
                <a:gd name="T56" fmla="*/ 19 w 157"/>
                <a:gd name="T57" fmla="*/ 30 h 150"/>
                <a:gd name="T58" fmla="*/ 3 w 157"/>
                <a:gd name="T59" fmla="*/ 72 h 150"/>
                <a:gd name="T60" fmla="*/ 28 w 157"/>
                <a:gd name="T61" fmla="*/ 123 h 150"/>
                <a:gd name="T62" fmla="*/ 9 w 157"/>
                <a:gd name="T63" fmla="*/ 142 h 150"/>
                <a:gd name="T64" fmla="*/ 9 w 157"/>
                <a:gd name="T65" fmla="*/ 148 h 150"/>
                <a:gd name="T66" fmla="*/ 12 w 157"/>
                <a:gd name="T67" fmla="*/ 150 h 150"/>
                <a:gd name="T68" fmla="*/ 16 w 157"/>
                <a:gd name="T69" fmla="*/ 148 h 150"/>
                <a:gd name="T70" fmla="*/ 36 w 157"/>
                <a:gd name="T71" fmla="*/ 128 h 150"/>
                <a:gd name="T72" fmla="*/ 66 w 157"/>
                <a:gd name="T73" fmla="*/ 135 h 150"/>
                <a:gd name="T74" fmla="*/ 108 w 157"/>
                <a:gd name="T75" fmla="*/ 11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7" h="150">
                  <a:moveTo>
                    <a:pt x="108" y="119"/>
                  </a:moveTo>
                  <a:cubicBezTo>
                    <a:pt x="133" y="144"/>
                    <a:pt x="133" y="144"/>
                    <a:pt x="133" y="144"/>
                  </a:cubicBezTo>
                  <a:cubicBezTo>
                    <a:pt x="134" y="145"/>
                    <a:pt x="135" y="145"/>
                    <a:pt x="136" y="145"/>
                  </a:cubicBezTo>
                  <a:cubicBezTo>
                    <a:pt x="137" y="145"/>
                    <a:pt x="138" y="145"/>
                    <a:pt x="139" y="144"/>
                  </a:cubicBezTo>
                  <a:cubicBezTo>
                    <a:pt x="141" y="142"/>
                    <a:pt x="141" y="140"/>
                    <a:pt x="139" y="138"/>
                  </a:cubicBezTo>
                  <a:cubicBezTo>
                    <a:pt x="114" y="113"/>
                    <a:pt x="114" y="113"/>
                    <a:pt x="114" y="113"/>
                  </a:cubicBezTo>
                  <a:cubicBezTo>
                    <a:pt x="122" y="103"/>
                    <a:pt x="127" y="92"/>
                    <a:pt x="129" y="79"/>
                  </a:cubicBezTo>
                  <a:cubicBezTo>
                    <a:pt x="129" y="77"/>
                    <a:pt x="127" y="75"/>
                    <a:pt x="125" y="74"/>
                  </a:cubicBezTo>
                  <a:cubicBezTo>
                    <a:pt x="122" y="74"/>
                    <a:pt x="120" y="76"/>
                    <a:pt x="120" y="78"/>
                  </a:cubicBezTo>
                  <a:cubicBezTo>
                    <a:pt x="116" y="106"/>
                    <a:pt x="93" y="126"/>
                    <a:pt x="66" y="126"/>
                  </a:cubicBezTo>
                  <a:cubicBezTo>
                    <a:pt x="56" y="126"/>
                    <a:pt x="47" y="124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8" y="118"/>
                    <a:pt x="38" y="118"/>
                    <a:pt x="37" y="118"/>
                  </a:cubicBezTo>
                  <a:cubicBezTo>
                    <a:pt x="22" y="108"/>
                    <a:pt x="12" y="91"/>
                    <a:pt x="12" y="72"/>
                  </a:cubicBezTo>
                  <a:cubicBezTo>
                    <a:pt x="12" y="42"/>
                    <a:pt x="36" y="17"/>
                    <a:pt x="66" y="17"/>
                  </a:cubicBezTo>
                  <a:cubicBezTo>
                    <a:pt x="89" y="17"/>
                    <a:pt x="110" y="32"/>
                    <a:pt x="117" y="55"/>
                  </a:cubicBezTo>
                  <a:cubicBezTo>
                    <a:pt x="118" y="57"/>
                    <a:pt x="121" y="58"/>
                    <a:pt x="123" y="58"/>
                  </a:cubicBezTo>
                  <a:cubicBezTo>
                    <a:pt x="125" y="57"/>
                    <a:pt x="127" y="54"/>
                    <a:pt x="126" y="52"/>
                  </a:cubicBezTo>
                  <a:cubicBezTo>
                    <a:pt x="125" y="49"/>
                    <a:pt x="123" y="45"/>
                    <a:pt x="122" y="42"/>
                  </a:cubicBezTo>
                  <a:cubicBezTo>
                    <a:pt x="155" y="9"/>
                    <a:pt x="155" y="9"/>
                    <a:pt x="155" y="9"/>
                  </a:cubicBezTo>
                  <a:cubicBezTo>
                    <a:pt x="157" y="7"/>
                    <a:pt x="157" y="4"/>
                    <a:pt x="155" y="2"/>
                  </a:cubicBezTo>
                  <a:cubicBezTo>
                    <a:pt x="154" y="0"/>
                    <a:pt x="151" y="0"/>
                    <a:pt x="149" y="2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05" y="18"/>
                    <a:pt x="86" y="8"/>
                    <a:pt x="66" y="8"/>
                  </a:cubicBezTo>
                  <a:cubicBezTo>
                    <a:pt x="50" y="8"/>
                    <a:pt x="36" y="14"/>
                    <a:pt x="25" y="2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5"/>
                    <a:pt x="4" y="5"/>
                    <a:pt x="2" y="7"/>
                  </a:cubicBezTo>
                  <a:cubicBezTo>
                    <a:pt x="0" y="8"/>
                    <a:pt x="0" y="11"/>
                    <a:pt x="2" y="1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9" y="41"/>
                    <a:pt x="3" y="56"/>
                    <a:pt x="3" y="72"/>
                  </a:cubicBezTo>
                  <a:cubicBezTo>
                    <a:pt x="3" y="93"/>
                    <a:pt x="13" y="111"/>
                    <a:pt x="28" y="123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8" y="144"/>
                    <a:pt x="8" y="147"/>
                    <a:pt x="9" y="148"/>
                  </a:cubicBezTo>
                  <a:cubicBezTo>
                    <a:pt x="10" y="149"/>
                    <a:pt x="11" y="150"/>
                    <a:pt x="12" y="150"/>
                  </a:cubicBezTo>
                  <a:cubicBezTo>
                    <a:pt x="14" y="150"/>
                    <a:pt x="15" y="149"/>
                    <a:pt x="16" y="148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5" y="133"/>
                    <a:pt x="55" y="135"/>
                    <a:pt x="66" y="135"/>
                  </a:cubicBezTo>
                  <a:cubicBezTo>
                    <a:pt x="82" y="135"/>
                    <a:pt x="97" y="129"/>
                    <a:pt x="108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52"/>
            <p:cNvSpPr>
              <a:spLocks noEditPoints="1"/>
            </p:cNvSpPr>
            <p:nvPr/>
          </p:nvSpPr>
          <p:spPr bwMode="auto">
            <a:xfrm>
              <a:off x="6422052" y="1201738"/>
              <a:ext cx="49213" cy="87313"/>
            </a:xfrm>
            <a:custGeom>
              <a:avLst/>
              <a:gdLst>
                <a:gd name="T0" fmla="*/ 21 w 37"/>
                <a:gd name="T1" fmla="*/ 67 h 67"/>
                <a:gd name="T2" fmla="*/ 21 w 37"/>
                <a:gd name="T3" fmla="*/ 57 h 67"/>
                <a:gd name="T4" fmla="*/ 33 w 37"/>
                <a:gd name="T5" fmla="*/ 53 h 67"/>
                <a:gd name="T6" fmla="*/ 37 w 37"/>
                <a:gd name="T7" fmla="*/ 43 h 67"/>
                <a:gd name="T8" fmla="*/ 37 w 37"/>
                <a:gd name="T9" fmla="*/ 40 h 67"/>
                <a:gd name="T10" fmla="*/ 34 w 37"/>
                <a:gd name="T11" fmla="*/ 31 h 67"/>
                <a:gd name="T12" fmla="*/ 23 w 37"/>
                <a:gd name="T13" fmla="*/ 28 h 67"/>
                <a:gd name="T14" fmla="*/ 21 w 37"/>
                <a:gd name="T15" fmla="*/ 28 h 67"/>
                <a:gd name="T16" fmla="*/ 21 w 37"/>
                <a:gd name="T17" fmla="*/ 11 h 67"/>
                <a:gd name="T18" fmla="*/ 34 w 37"/>
                <a:gd name="T19" fmla="*/ 12 h 67"/>
                <a:gd name="T20" fmla="*/ 34 w 37"/>
                <a:gd name="T21" fmla="*/ 7 h 67"/>
                <a:gd name="T22" fmla="*/ 21 w 37"/>
                <a:gd name="T23" fmla="*/ 6 h 67"/>
                <a:gd name="T24" fmla="*/ 21 w 37"/>
                <a:gd name="T25" fmla="*/ 0 h 67"/>
                <a:gd name="T26" fmla="*/ 16 w 37"/>
                <a:gd name="T27" fmla="*/ 0 h 67"/>
                <a:gd name="T28" fmla="*/ 16 w 37"/>
                <a:gd name="T29" fmla="*/ 6 h 67"/>
                <a:gd name="T30" fmla="*/ 4 w 37"/>
                <a:gd name="T31" fmla="*/ 9 h 67"/>
                <a:gd name="T32" fmla="*/ 0 w 37"/>
                <a:gd name="T33" fmla="*/ 18 h 67"/>
                <a:gd name="T34" fmla="*/ 0 w 37"/>
                <a:gd name="T35" fmla="*/ 21 h 67"/>
                <a:gd name="T36" fmla="*/ 3 w 37"/>
                <a:gd name="T37" fmla="*/ 30 h 67"/>
                <a:gd name="T38" fmla="*/ 14 w 37"/>
                <a:gd name="T39" fmla="*/ 33 h 67"/>
                <a:gd name="T40" fmla="*/ 16 w 37"/>
                <a:gd name="T41" fmla="*/ 33 h 67"/>
                <a:gd name="T42" fmla="*/ 16 w 37"/>
                <a:gd name="T43" fmla="*/ 51 h 67"/>
                <a:gd name="T44" fmla="*/ 12 w 37"/>
                <a:gd name="T45" fmla="*/ 51 h 67"/>
                <a:gd name="T46" fmla="*/ 8 w 37"/>
                <a:gd name="T47" fmla="*/ 51 h 67"/>
                <a:gd name="T48" fmla="*/ 4 w 37"/>
                <a:gd name="T49" fmla="*/ 50 h 67"/>
                <a:gd name="T50" fmla="*/ 1 w 37"/>
                <a:gd name="T51" fmla="*/ 50 h 67"/>
                <a:gd name="T52" fmla="*/ 1 w 37"/>
                <a:gd name="T53" fmla="*/ 56 h 67"/>
                <a:gd name="T54" fmla="*/ 16 w 37"/>
                <a:gd name="T55" fmla="*/ 57 h 67"/>
                <a:gd name="T56" fmla="*/ 16 w 37"/>
                <a:gd name="T57" fmla="*/ 67 h 67"/>
                <a:gd name="T58" fmla="*/ 21 w 37"/>
                <a:gd name="T59" fmla="*/ 67 h 67"/>
                <a:gd name="T60" fmla="*/ 21 w 37"/>
                <a:gd name="T61" fmla="*/ 33 h 67"/>
                <a:gd name="T62" fmla="*/ 28 w 37"/>
                <a:gd name="T63" fmla="*/ 35 h 67"/>
                <a:gd name="T64" fmla="*/ 29 w 37"/>
                <a:gd name="T65" fmla="*/ 39 h 67"/>
                <a:gd name="T66" fmla="*/ 29 w 37"/>
                <a:gd name="T67" fmla="*/ 45 h 67"/>
                <a:gd name="T68" fmla="*/ 27 w 37"/>
                <a:gd name="T69" fmla="*/ 50 h 67"/>
                <a:gd name="T70" fmla="*/ 21 w 37"/>
                <a:gd name="T71" fmla="*/ 51 h 67"/>
                <a:gd name="T72" fmla="*/ 21 w 37"/>
                <a:gd name="T73" fmla="*/ 33 h 67"/>
                <a:gd name="T74" fmla="*/ 10 w 37"/>
                <a:gd name="T75" fmla="*/ 26 h 67"/>
                <a:gd name="T76" fmla="*/ 8 w 37"/>
                <a:gd name="T77" fmla="*/ 23 h 67"/>
                <a:gd name="T78" fmla="*/ 8 w 37"/>
                <a:gd name="T79" fmla="*/ 18 h 67"/>
                <a:gd name="T80" fmla="*/ 9 w 37"/>
                <a:gd name="T81" fmla="*/ 13 h 67"/>
                <a:gd name="T82" fmla="*/ 16 w 37"/>
                <a:gd name="T83" fmla="*/ 11 h 67"/>
                <a:gd name="T84" fmla="*/ 16 w 37"/>
                <a:gd name="T85" fmla="*/ 28 h 67"/>
                <a:gd name="T86" fmla="*/ 10 w 37"/>
                <a:gd name="T87" fmla="*/ 2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" h="67">
                  <a:moveTo>
                    <a:pt x="21" y="67"/>
                  </a:moveTo>
                  <a:cubicBezTo>
                    <a:pt x="21" y="57"/>
                    <a:pt x="21" y="57"/>
                    <a:pt x="21" y="57"/>
                  </a:cubicBezTo>
                  <a:cubicBezTo>
                    <a:pt x="26" y="57"/>
                    <a:pt x="30" y="55"/>
                    <a:pt x="33" y="53"/>
                  </a:cubicBezTo>
                  <a:cubicBezTo>
                    <a:pt x="36" y="51"/>
                    <a:pt x="37" y="47"/>
                    <a:pt x="37" y="43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36"/>
                    <a:pt x="36" y="32"/>
                    <a:pt x="34" y="31"/>
                  </a:cubicBezTo>
                  <a:cubicBezTo>
                    <a:pt x="32" y="29"/>
                    <a:pt x="29" y="28"/>
                    <a:pt x="23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3" y="11"/>
                    <a:pt x="27" y="12"/>
                    <a:pt x="34" y="12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29" y="6"/>
                    <a:pt x="24" y="6"/>
                    <a:pt x="21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0" y="6"/>
                    <a:pt x="6" y="7"/>
                    <a:pt x="4" y="9"/>
                  </a:cubicBezTo>
                  <a:cubicBezTo>
                    <a:pt x="2" y="11"/>
                    <a:pt x="0" y="14"/>
                    <a:pt x="0" y="1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5"/>
                    <a:pt x="1" y="28"/>
                    <a:pt x="3" y="30"/>
                  </a:cubicBezTo>
                  <a:cubicBezTo>
                    <a:pt x="5" y="32"/>
                    <a:pt x="9" y="33"/>
                    <a:pt x="14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5" y="51"/>
                    <a:pt x="13" y="51"/>
                    <a:pt x="12" y="51"/>
                  </a:cubicBezTo>
                  <a:cubicBezTo>
                    <a:pt x="10" y="51"/>
                    <a:pt x="9" y="51"/>
                    <a:pt x="8" y="51"/>
                  </a:cubicBezTo>
                  <a:cubicBezTo>
                    <a:pt x="7" y="51"/>
                    <a:pt x="6" y="50"/>
                    <a:pt x="4" y="50"/>
                  </a:cubicBezTo>
                  <a:cubicBezTo>
                    <a:pt x="2" y="50"/>
                    <a:pt x="1" y="50"/>
                    <a:pt x="1" y="50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8" y="57"/>
                    <a:pt x="13" y="57"/>
                    <a:pt x="16" y="57"/>
                  </a:cubicBezTo>
                  <a:cubicBezTo>
                    <a:pt x="16" y="67"/>
                    <a:pt x="16" y="67"/>
                    <a:pt x="16" y="67"/>
                  </a:cubicBezTo>
                  <a:lnTo>
                    <a:pt x="21" y="67"/>
                  </a:lnTo>
                  <a:close/>
                  <a:moveTo>
                    <a:pt x="21" y="33"/>
                  </a:moveTo>
                  <a:cubicBezTo>
                    <a:pt x="24" y="33"/>
                    <a:pt x="26" y="34"/>
                    <a:pt x="28" y="35"/>
                  </a:cubicBezTo>
                  <a:cubicBezTo>
                    <a:pt x="29" y="36"/>
                    <a:pt x="29" y="37"/>
                    <a:pt x="29" y="39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7"/>
                    <a:pt x="29" y="49"/>
                    <a:pt x="27" y="50"/>
                  </a:cubicBezTo>
                  <a:cubicBezTo>
                    <a:pt x="26" y="50"/>
                    <a:pt x="24" y="51"/>
                    <a:pt x="21" y="51"/>
                  </a:cubicBezTo>
                  <a:lnTo>
                    <a:pt x="21" y="33"/>
                  </a:lnTo>
                  <a:close/>
                  <a:moveTo>
                    <a:pt x="10" y="26"/>
                  </a:moveTo>
                  <a:cubicBezTo>
                    <a:pt x="8" y="26"/>
                    <a:pt x="8" y="24"/>
                    <a:pt x="8" y="23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5"/>
                    <a:pt x="8" y="14"/>
                    <a:pt x="9" y="13"/>
                  </a:cubicBezTo>
                  <a:cubicBezTo>
                    <a:pt x="11" y="12"/>
                    <a:pt x="13" y="11"/>
                    <a:pt x="16" y="11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3" y="28"/>
                    <a:pt x="11" y="27"/>
                    <a:pt x="10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" name="Group 488"/>
          <p:cNvGrpSpPr/>
          <p:nvPr/>
        </p:nvGrpSpPr>
        <p:grpSpPr>
          <a:xfrm>
            <a:off x="6388918" y="973862"/>
            <a:ext cx="346845" cy="327457"/>
            <a:chOff x="-2103438" y="3878264"/>
            <a:chExt cx="371475" cy="371475"/>
          </a:xfrm>
          <a:solidFill>
            <a:schemeClr val="tx2"/>
          </a:solidFill>
        </p:grpSpPr>
        <p:sp>
          <p:nvSpPr>
            <p:cNvPr id="52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317499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>
            <a:off x="6388918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67" name="Chart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7053562"/>
              </p:ext>
            </p:extLst>
          </p:nvPr>
        </p:nvGraphicFramePr>
        <p:xfrm>
          <a:off x="2141538" y="3598863"/>
          <a:ext cx="1755775" cy="93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88" name="TextBox 87"/>
          <p:cNvSpPr txBox="1"/>
          <p:nvPr/>
        </p:nvSpPr>
        <p:spPr>
          <a:xfrm>
            <a:off x="6400232" y="1464767"/>
            <a:ext cx="5460686" cy="374009"/>
          </a:xfrm>
          <a:prstGeom prst="rect">
            <a:avLst/>
          </a:prstGeom>
        </p:spPr>
        <p:txBody>
          <a:bodyPr vert="horz" wrap="square" lIns="36000" tIns="72000" rIns="36000" bIns="72000" rtlCol="0" anchor="t" anchorCtr="0">
            <a:noAutofit/>
          </a:bodyPr>
          <a:lstStyle/>
          <a:p>
            <a:pPr marL="180000" indent="-180000">
              <a:spcAft>
                <a:spcPts val="300"/>
              </a:spcAft>
              <a:buClr>
                <a:srgbClr val="F0720A"/>
              </a:buClr>
              <a:buFont typeface="Arial" panose="020B0604020202020204" pitchFamily="34" charset="0"/>
              <a:buChar char="•"/>
            </a:pPr>
            <a:r>
              <a:rPr lang="ru-RU" sz="1200" b="0" dirty="0" smtClean="0"/>
              <a:t>Объем </a:t>
            </a:r>
            <a:r>
              <a:rPr lang="ru-RU" sz="1200" dirty="0" smtClean="0"/>
              <a:t>оказанных </a:t>
            </a:r>
            <a:r>
              <a:rPr lang="ru-RU" sz="1200" b="0" dirty="0" smtClean="0"/>
              <a:t>услуг за 202</a:t>
            </a:r>
            <a:r>
              <a:rPr lang="en-US" sz="1200" b="0" dirty="0" smtClean="0"/>
              <a:t>4</a:t>
            </a:r>
            <a:r>
              <a:rPr lang="ru-RU" sz="1200" b="0" dirty="0" smtClean="0"/>
              <a:t> год  </a:t>
            </a:r>
            <a:r>
              <a:rPr lang="en-US" sz="1200" b="0" dirty="0" smtClean="0">
                <a:solidFill>
                  <a:schemeClr val="accent1"/>
                </a:solidFill>
              </a:rPr>
              <a:t>44 720 </a:t>
            </a:r>
            <a:r>
              <a:rPr lang="ru-RU" sz="1200" b="0" dirty="0" smtClean="0">
                <a:solidFill>
                  <a:schemeClr val="accent1"/>
                </a:solidFill>
              </a:rPr>
              <a:t>Гкал</a:t>
            </a:r>
          </a:p>
        </p:txBody>
      </p:sp>
      <p:graphicFrame>
        <p:nvGraphicFramePr>
          <p:cNvPr id="104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09347628"/>
              </p:ext>
            </p:extLst>
          </p:nvPr>
        </p:nvGraphicFramePr>
        <p:xfrm>
          <a:off x="7621588" y="2274888"/>
          <a:ext cx="2838450" cy="283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49" name="Прямоугольник 148"/>
          <p:cNvSpPr/>
          <p:nvPr>
            <p:custDataLst>
              <p:tags r:id="rId9"/>
            </p:custDataLst>
          </p:nvPr>
        </p:nvSpPr>
        <p:spPr bwMode="auto">
          <a:xfrm>
            <a:off x="10388600" y="4003675"/>
            <a:ext cx="14954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7DCF761-7137-4416-A426-E260211AF768}" type="datetime'КГ''''П &quot;ТЕ''''''П''''''Л''ОСЕР''''ВИ''С'''''' - ''А''к''с''у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КГП "ТЕПЛОСЕРВИС - Аксу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1" name="Прямоугольник 150"/>
          <p:cNvSpPr/>
          <p:nvPr>
            <p:custDataLst>
              <p:tags r:id="rId10"/>
            </p:custDataLst>
          </p:nvPr>
        </p:nvSpPr>
        <p:spPr bwMode="auto">
          <a:xfrm>
            <a:off x="7059613" y="4708525"/>
            <a:ext cx="1065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D0258BE-1D07-4370-9FA0-0B72107C1580}" type="datetime'ТОО'' ''&quot;''''ГРЭС''С''''''''''Т''''''Р''О''Й&quot;''''''''''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ТОО "ГРЭССТРОЙ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2" name="Прямоугольник 151"/>
          <p:cNvSpPr/>
          <p:nvPr>
            <p:custDataLst>
              <p:tags r:id="rId11"/>
            </p:custDataLst>
          </p:nvPr>
        </p:nvSpPr>
        <p:spPr bwMode="auto">
          <a:xfrm>
            <a:off x="7226300" y="4375150"/>
            <a:ext cx="6191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A5DF4EA-4B5C-4027-8CE3-29EF6E0DC862}" type="datetime''' ''''АО'''''''''''' ''''''''''&quot;П''''РЭК''&quot;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АО "ПРЭК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3" name="Прямоугольник 152"/>
          <p:cNvSpPr/>
          <p:nvPr>
            <p:custDataLst>
              <p:tags r:id="rId12"/>
            </p:custDataLst>
          </p:nvPr>
        </p:nvSpPr>
        <p:spPr bwMode="auto">
          <a:xfrm>
            <a:off x="6592888" y="3062288"/>
            <a:ext cx="1112838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B9D2E68-622D-4F53-9DE9-A7EC276D35C2}" type="datetime''' ''Т''''''ОО &quot;ТЕ''ПЛИЧ''''НЫ''Й'' ''&#10;КОМПЛЕК''''С А''КСУ&quot;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ТОО "ТЕПЛИЧНЫЙ 
КОМПЛЕКС АКСУ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4" name="Прямоугольник 153"/>
          <p:cNvSpPr/>
          <p:nvPr>
            <p:custDataLst>
              <p:tags r:id="rId13"/>
            </p:custDataLst>
          </p:nvPr>
        </p:nvSpPr>
        <p:spPr bwMode="auto">
          <a:xfrm>
            <a:off x="6869113" y="2224088"/>
            <a:ext cx="189706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203C946-1F93-43E4-BB95-00C852A9C9B4}" type="datetime' ТО''''О'''' &quot;ТЕМ''ІР''Ж''ОЛСУ ''- П''АВЛО''''''Д''А''Р&quot;''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ТОО "ТЕМІРЖОЛСУ - ПАВЛОДАР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5" name="Прямоугольник 154"/>
          <p:cNvSpPr/>
          <p:nvPr>
            <p:custDataLst>
              <p:tags r:id="rId14"/>
            </p:custDataLst>
          </p:nvPr>
        </p:nvSpPr>
        <p:spPr bwMode="auto">
          <a:xfrm>
            <a:off x="8816975" y="2195514"/>
            <a:ext cx="98425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71E0082-C61D-40E6-BC9A-FF7889E1BEAA}" type="datetime' ''''Т''О''О ''&quot;''''''''LAVA''''''''''''''''''G''''G''I''O&quot;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 ТОО "LAVAGGIO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>
            <p:custDataLst>
              <p:tags r:id="rId15"/>
            </p:custDataLst>
          </p:nvPr>
        </p:nvSpPr>
        <p:spPr bwMode="gray">
          <a:xfrm>
            <a:off x="8897938" y="2686049"/>
            <a:ext cx="273050" cy="247650"/>
          </a:xfrm>
          <a:prstGeom prst="rect">
            <a:avLst/>
          </a:prstGeom>
          <a:solidFill>
            <a:srgbClr val="DFE5E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D2FDCBA-095A-4C04-820F-296693A8F7A0}" type="datetime'''''''''''''''''''''''''''''''''''1''''''''''1''0'''''''''''">
              <a:rPr lang="ru-RU" altLang="en-US" sz="900" smtClean="0">
                <a:solidFill>
                  <a:schemeClr val="tx1"/>
                </a:solidFill>
              </a:rPr>
              <a:pPr/>
              <a:t>110</a:t>
            </a:fld>
            <a:r>
              <a:rPr lang="ru-RU" altLang="en-US" sz="900" dirty="0" smtClean="0">
                <a:solidFill>
                  <a:schemeClr val="tx1"/>
                </a:solidFill>
              </a:rPr>
              <a:t/>
            </a:r>
            <a:br>
              <a:rPr lang="ru-RU" altLang="en-US" sz="900" dirty="0" smtClean="0">
                <a:solidFill>
                  <a:schemeClr val="tx1"/>
                </a:solidFill>
              </a:rPr>
            </a:br>
            <a:r>
              <a:rPr lang="ru-RU" altLang="en-US" sz="900" dirty="0" smtClean="0">
                <a:solidFill>
                  <a:schemeClr val="tx1"/>
                </a:solidFill>
              </a:rPr>
              <a:t>(</a:t>
            </a:r>
            <a:fld id="{8D8224BC-6940-4DB6-9DD5-553A5C0BA751}" type="datetime'''''''''''''''''''''''''''''''''''0''''''''''%'''">
              <a:rPr lang="ru-RU" altLang="en-US" sz="900" smtClean="0">
                <a:solidFill>
                  <a:schemeClr val="tx1"/>
                </a:solidFill>
              </a:rPr>
              <a:pPr/>
              <a:t>0%</a:t>
            </a:fld>
            <a:r>
              <a:rPr lang="ru-RU" altLang="en-US" sz="900" dirty="0" smtClean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16"/>
            </p:custDataLst>
          </p:nvPr>
        </p:nvSpPr>
        <p:spPr bwMode="gray">
          <a:xfrm>
            <a:off x="7793038" y="3208337"/>
            <a:ext cx="3810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7999545-F0DF-4D44-9917-FE3720553CF7}" type="datetime'''''''''1''''''''''''''''''1'' 0''''6''''''6'''">
              <a:rPr lang="ru-RU" altLang="en-US" sz="900" smtClean="0">
                <a:solidFill>
                  <a:schemeClr val="bg1"/>
                </a:solidFill>
              </a:rPr>
              <a:pPr/>
              <a:t>11 066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8027D41A-E6AC-4541-88A4-5BA19E0B6688}" type="datetime'''''''''''''''''''''''''''''''''''''''''''''''25''''%'''">
              <a:rPr lang="ru-RU" altLang="en-US" sz="900" smtClean="0">
                <a:solidFill>
                  <a:schemeClr val="bg1"/>
                </a:solidFill>
              </a:rPr>
              <a:pPr/>
              <a:t>25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17"/>
            </p:custDataLst>
          </p:nvPr>
        </p:nvSpPr>
        <p:spPr bwMode="gray">
          <a:xfrm>
            <a:off x="7907338" y="4156074"/>
            <a:ext cx="317500" cy="247650"/>
          </a:xfrm>
          <a:prstGeom prst="rect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070C446-CFE6-40C1-8204-4066506344ED}" type="datetime'''''''''''''''''1'''''''''''' 3''1''''''''5'''''''">
              <a:rPr lang="ru-RU" altLang="en-US" sz="900" smtClean="0">
                <a:solidFill>
                  <a:schemeClr val="tx1"/>
                </a:solidFill>
              </a:rPr>
              <a:pPr/>
              <a:t>1 315</a:t>
            </a:fld>
            <a:r>
              <a:rPr lang="ru-RU" altLang="en-US" sz="900" dirty="0" smtClean="0">
                <a:solidFill>
                  <a:schemeClr val="tx1"/>
                </a:solidFill>
              </a:rPr>
              <a:t/>
            </a:r>
            <a:br>
              <a:rPr lang="ru-RU" altLang="en-US" sz="900" dirty="0" smtClean="0">
                <a:solidFill>
                  <a:schemeClr val="tx1"/>
                </a:solidFill>
              </a:rPr>
            </a:br>
            <a:r>
              <a:rPr lang="ru-RU" altLang="en-US" sz="900" dirty="0" smtClean="0">
                <a:solidFill>
                  <a:schemeClr val="tx1"/>
                </a:solidFill>
              </a:rPr>
              <a:t>(</a:t>
            </a:r>
            <a:fld id="{37243D3F-B6FE-4BB0-8ADB-BC7805175E7A}" type="datetime'''3''%'''''''''''">
              <a:rPr lang="ru-RU" altLang="en-US" sz="900" smtClean="0">
                <a:solidFill>
                  <a:schemeClr val="tx1"/>
                </a:solidFill>
              </a:rPr>
              <a:pPr/>
              <a:t>3%</a:t>
            </a:fld>
            <a:r>
              <a:rPr lang="ru-RU" altLang="en-US" sz="900" dirty="0" smtClean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18"/>
            </p:custDataLst>
          </p:nvPr>
        </p:nvSpPr>
        <p:spPr bwMode="gray">
          <a:xfrm>
            <a:off x="8121650" y="4413249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71299C1-E795-4BDF-B235-8BD990F7D3CE}" type="datetime'''''''''''''''2 ''''''''''''''''''''''9''''''''0''3'''">
              <a:rPr lang="ru-RU" altLang="en-US" sz="900" smtClean="0">
                <a:solidFill>
                  <a:schemeClr val="bg1"/>
                </a:solidFill>
              </a:rPr>
              <a:pPr/>
              <a:t>2 903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70435F23-AFCF-4EFF-A2B7-46965D2C0C1A}" type="datetime'''''''''''6''''''''''''''''''''''''''''''''''''''''''''%'''''">
              <a:rPr lang="ru-RU" altLang="en-US" sz="900" smtClean="0">
                <a:solidFill>
                  <a:schemeClr val="bg1"/>
                </a:solidFill>
              </a:rPr>
              <a:pPr/>
              <a:t>6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9"/>
            </p:custDataLst>
          </p:nvPr>
        </p:nvSpPr>
        <p:spPr bwMode="gray">
          <a:xfrm>
            <a:off x="9931400" y="3863974"/>
            <a:ext cx="3810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FB2B526-7A8C-4374-A71B-ECE8A5AB9B43}" type="datetime'26'''''''' 1''''''''''''''''3''''''''''''''''''''''3'''''''">
              <a:rPr lang="ru-RU" altLang="en-US" sz="900" smtClean="0">
                <a:solidFill>
                  <a:schemeClr val="bg1"/>
                </a:solidFill>
              </a:rPr>
              <a:pPr/>
              <a:t>26 133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B7D2AB9F-94A9-4A14-8048-168EA2ED53B6}" type="datetime'''''''''''''''''5''''''''''''8''''''%'">
              <a:rPr lang="ru-RU" altLang="en-US" sz="900" smtClean="0">
                <a:solidFill>
                  <a:schemeClr val="bg1"/>
                </a:solidFill>
              </a:rPr>
              <a:pPr/>
              <a:t>58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20"/>
            </p:custDataLst>
          </p:nvPr>
        </p:nvSpPr>
        <p:spPr bwMode="gray">
          <a:xfrm>
            <a:off x="8605838" y="2438399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250EEE1-F271-443D-A389-971F5CB32CAF}" type="datetime'''''''''3'''' 1''93'''''''''''''''''''''''''''''">
              <a:rPr lang="ru-RU" altLang="en-US" sz="900" smtClean="0">
                <a:solidFill>
                  <a:schemeClr val="bg1"/>
                </a:solidFill>
              </a:rPr>
              <a:pPr/>
              <a:t>3 193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6AC8CBAA-27DD-4C7B-A20C-ED11422F7316}" type="datetime'7''''''''''''''''''''''%'''''''''''''''''">
              <a:rPr lang="ru-RU" altLang="en-US" sz="900" smtClean="0">
                <a:solidFill>
                  <a:schemeClr val="bg1"/>
                </a:solidFill>
              </a:rPr>
              <a:pPr/>
              <a:t>7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57" name="Freeform 140"/>
          <p:cNvSpPr/>
          <p:nvPr/>
        </p:nvSpPr>
        <p:spPr>
          <a:xfrm>
            <a:off x="6293642" y="1449911"/>
            <a:ext cx="5699657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endParaRPr lang="da-DK" sz="1200" dirty="0">
              <a:solidFill>
                <a:schemeClr val="accent1"/>
              </a:solidFill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10731260" y="2544792"/>
            <a:ext cx="974785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/>
              <a:t>Гкал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1509629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15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69" name="Слайд think-cell" r:id="rId7" imgW="594" imgH="595" progId="TCLayout.ActiveDocument.1">
                  <p:embed/>
                </p:oleObj>
              </mc:Choice>
              <mc:Fallback>
                <p:oleObj name="Слайд think-cell" r:id="rId7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b="0" dirty="0" smtClean="0">
                <a:solidFill>
                  <a:schemeClr val="accent1"/>
                </a:solidFill>
              </a:rPr>
              <a:t>ЕЭК: </a:t>
            </a:r>
            <a:r>
              <a:rPr lang="ru-RU" dirty="0"/>
              <a:t>Информация о проводимой работе с потребителями регулируемых услуг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8795043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9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63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4526" y="2850144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АО «ЕЭК»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gray">
          <a:xfrm>
            <a:off x="4475162" y="1423988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Предоставление услуг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gray">
          <a:xfrm>
            <a:off x="7213829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Тариф на услугу 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2946400" y="1423988"/>
            <a:ext cx="1438275" cy="3671888"/>
            <a:chOff x="2432720" y="2258870"/>
            <a:chExt cx="1438524" cy="3672000"/>
          </a:xfrm>
        </p:grpSpPr>
        <p:sp>
          <p:nvSpPr>
            <p:cNvPr id="14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15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38"/>
          <p:cNvSpPr>
            <a:spLocks noChangeArrowheads="1"/>
          </p:cNvSpPr>
          <p:nvPr/>
        </p:nvSpPr>
        <p:spPr bwMode="gray">
          <a:xfrm>
            <a:off x="2638425" y="2876550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smtClean="0">
                <a:solidFill>
                  <a:schemeClr val="lt1"/>
                </a:solidFill>
              </a:rPr>
              <a:t>Регулируемая деятельность</a:t>
            </a:r>
            <a:endParaRPr lang="de-DE" altLang="de-DE" sz="1050" b="0" dirty="0" smtClean="0">
              <a:solidFill>
                <a:schemeClr val="lt1"/>
              </a:solidFill>
            </a:endParaRPr>
          </a:p>
        </p:txBody>
      </p:sp>
      <p:sp>
        <p:nvSpPr>
          <p:cNvPr id="17" name="Rectangle 38"/>
          <p:cNvSpPr>
            <a:spLocks noChangeArrowheads="1"/>
          </p:cNvSpPr>
          <p:nvPr/>
        </p:nvSpPr>
        <p:spPr bwMode="gray">
          <a:xfrm>
            <a:off x="2638425" y="334327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Основ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18" name="Rectangle 38"/>
          <p:cNvSpPr>
            <a:spLocks noChangeArrowheads="1"/>
          </p:cNvSpPr>
          <p:nvPr/>
        </p:nvSpPr>
        <p:spPr bwMode="gray">
          <a:xfrm>
            <a:off x="2638425" y="384492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И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19" name="Gerade Verbindung 14"/>
          <p:cNvCxnSpPr/>
          <p:nvPr/>
        </p:nvCxnSpPr>
        <p:spPr bwMode="auto">
          <a:xfrm>
            <a:off x="4475162" y="1198563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20" name="Rectangle 34"/>
          <p:cNvSpPr>
            <a:spLocks noChangeArrowheads="1"/>
          </p:cNvSpPr>
          <p:nvPr/>
        </p:nvSpPr>
        <p:spPr bwMode="auto">
          <a:xfrm>
            <a:off x="4475162" y="692150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smtClean="0">
                <a:solidFill>
                  <a:srgbClr val="000000"/>
                </a:solidFill>
              </a:rPr>
              <a:t>Работа с потребителями</a:t>
            </a:r>
            <a:endParaRPr lang="en-GB" altLang="de-DE" sz="1600" b="1" dirty="0" smtClean="0">
              <a:solidFill>
                <a:srgbClr val="000000"/>
              </a:solidFill>
            </a:endParaRPr>
          </a:p>
        </p:txBody>
      </p:sp>
      <p:sp>
        <p:nvSpPr>
          <p:cNvPr id="21" name="Rounded Rectangle 526"/>
          <p:cNvSpPr/>
          <p:nvPr/>
        </p:nvSpPr>
        <p:spPr bwMode="gray">
          <a:xfrm>
            <a:off x="4475162" y="1874838"/>
            <a:ext cx="2738416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беспечивается </a:t>
            </a:r>
            <a:r>
              <a:rPr lang="ru-RU" sz="1400" dirty="0"/>
              <a:t>всеобщее обслуживание в соответствии с требованиями к качеству предоставляемых услуг по тарифам, утвержденным уполномоченным органом. 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существляется в </a:t>
            </a:r>
            <a:r>
              <a:rPr lang="ru-RU" sz="1400" dirty="0"/>
              <a:t>соответствии с требованиями заключенных Сторонами  договоров и принятых договорных взаимных обязательств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sp>
        <p:nvSpPr>
          <p:cNvPr id="22" name="Rounded Rectangle 526"/>
          <p:cNvSpPr/>
          <p:nvPr/>
        </p:nvSpPr>
        <p:spPr bwMode="gray">
          <a:xfrm>
            <a:off x="7213828" y="1874838"/>
            <a:ext cx="2415309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участие независимых экспертов, общественных организаций и потребителей в процессе </a:t>
            </a:r>
            <a:r>
              <a:rPr lang="ru-RU" sz="1400" dirty="0" smtClean="0"/>
              <a:t>оценки проекта </a:t>
            </a:r>
            <a:endParaRPr lang="ru-RU" sz="1400" dirty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участие в публичных слушаниях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информирование потребителей об изменении тарифов в сроки, предусмотренные законодательством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834311" y="6321425"/>
            <a:ext cx="10602862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202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год отсутствуют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34311" y="5377626"/>
            <a:ext cx="110326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В 202</a:t>
            </a:r>
            <a:r>
              <a:rPr lang="en-US" sz="1400" dirty="0" smtClean="0"/>
              <a:t>4</a:t>
            </a:r>
            <a:r>
              <a:rPr lang="ru-RU" sz="1400" dirty="0" smtClean="0"/>
              <a:t> году отсутствовали:</a:t>
            </a:r>
          </a:p>
          <a:p>
            <a:r>
              <a:rPr lang="ru-RU" sz="1400" dirty="0" smtClean="0"/>
              <a:t>- аварии </a:t>
            </a:r>
            <a:r>
              <a:rPr lang="ru-RU" sz="1400" dirty="0"/>
              <a:t>на оборудовании, </a:t>
            </a:r>
            <a:r>
              <a:rPr lang="ru-RU" sz="1400" dirty="0" smtClean="0"/>
              <a:t>задействованном </a:t>
            </a:r>
            <a:r>
              <a:rPr lang="ru-RU" sz="1400" dirty="0"/>
              <a:t>в оказании регулируемых услуг</a:t>
            </a:r>
            <a:r>
              <a:rPr lang="ru-RU" sz="1400" dirty="0" smtClean="0"/>
              <a:t>, </a:t>
            </a:r>
          </a:p>
          <a:p>
            <a:r>
              <a:rPr lang="ru-RU" sz="1400" dirty="0" smtClean="0"/>
              <a:t>- отключения </a:t>
            </a:r>
            <a:r>
              <a:rPr lang="ru-RU" sz="1400" dirty="0"/>
              <a:t>потребителей регулируемых услуг АО «ЕЭК</a:t>
            </a:r>
            <a:r>
              <a:rPr lang="ru-RU" sz="1400" dirty="0" smtClean="0"/>
              <a:t>».</a:t>
            </a:r>
            <a:endParaRPr lang="ru-RU" sz="1400" dirty="0"/>
          </a:p>
        </p:txBody>
      </p:sp>
      <p:sp>
        <p:nvSpPr>
          <p:cNvPr id="25" name="Freeform 223"/>
          <p:cNvSpPr>
            <a:spLocks noEditPoints="1"/>
          </p:cNvSpPr>
          <p:nvPr/>
        </p:nvSpPr>
        <p:spPr bwMode="auto">
          <a:xfrm>
            <a:off x="5888830" y="771075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Rectangle 2"/>
          <p:cNvSpPr/>
          <p:nvPr>
            <p:custDataLst>
              <p:tags r:id="rId4"/>
            </p:custDataLst>
          </p:nvPr>
        </p:nvSpPr>
        <p:spPr bwMode="auto">
          <a:xfrm>
            <a:off x="309563" y="5494338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27" name="Rectangle 2"/>
          <p:cNvSpPr/>
          <p:nvPr>
            <p:custDataLst>
              <p:tags r:id="rId5"/>
            </p:custDataLst>
          </p:nvPr>
        </p:nvSpPr>
        <p:spPr bwMode="auto">
          <a:xfrm>
            <a:off x="309563" y="621665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cxnSp>
        <p:nvCxnSpPr>
          <p:cNvPr id="28" name="Соединительная линия уступом 27"/>
          <p:cNvCxnSpPr/>
          <p:nvPr/>
        </p:nvCxnSpPr>
        <p:spPr>
          <a:xfrm flipV="1">
            <a:off x="2420126" y="3165364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Соединительная линия уступом 28"/>
          <p:cNvCxnSpPr/>
          <p:nvPr/>
        </p:nvCxnSpPr>
        <p:spPr>
          <a:xfrm>
            <a:off x="2420126" y="3350526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>
            <a:stCxn id="17" idx="1"/>
          </p:cNvCxnSpPr>
          <p:nvPr/>
        </p:nvCxnSpPr>
        <p:spPr>
          <a:xfrm flipH="1">
            <a:off x="2535205" y="3540919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Прямоугольник 30"/>
          <p:cNvSpPr/>
          <p:nvPr/>
        </p:nvSpPr>
        <p:spPr bwMode="gray">
          <a:xfrm>
            <a:off x="9390292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Отчеты перед потребителями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32" name="Rounded Rectangle 526"/>
          <p:cNvSpPr/>
          <p:nvPr/>
        </p:nvSpPr>
        <p:spPr bwMode="gray">
          <a:xfrm>
            <a:off x="9390292" y="1874838"/>
            <a:ext cx="2591722" cy="3502788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публикация уведомлений </a:t>
            </a:r>
            <a:r>
              <a:rPr lang="ru-RU" sz="1400" dirty="0"/>
              <a:t>о времени и месте </a:t>
            </a:r>
            <a:r>
              <a:rPr lang="ru-RU" sz="1400" dirty="0" smtClean="0"/>
              <a:t>публичных </a:t>
            </a:r>
            <a:r>
              <a:rPr lang="ru-RU" sz="1400" dirty="0"/>
              <a:t>слушаний </a:t>
            </a:r>
            <a:r>
              <a:rPr lang="ru-RU" sz="1400" dirty="0" smtClean="0"/>
              <a:t>в </a:t>
            </a:r>
            <a:r>
              <a:rPr lang="ru-RU" sz="1400" dirty="0"/>
              <a:t>средствах массовой </a:t>
            </a:r>
            <a:r>
              <a:rPr lang="ru-RU" sz="1400" dirty="0" smtClean="0"/>
              <a:t>информации, с предоставлением ссылки на </a:t>
            </a:r>
            <a:r>
              <a:rPr lang="kk-KZ" sz="1400" dirty="0" smtClean="0"/>
              <a:t>подключение </a:t>
            </a:r>
            <a:r>
              <a:rPr lang="ru-RU" sz="1400" dirty="0"/>
              <a:t>к публичным слушаниям </a:t>
            </a:r>
            <a:r>
              <a:rPr lang="ru-RU" sz="1400" dirty="0" smtClean="0"/>
              <a:t>онлайн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dk1"/>
                </a:solidFill>
              </a:rPr>
              <a:t>размещение обязательной информации в </a:t>
            </a:r>
            <a:r>
              <a:rPr lang="ru-RU" sz="1400" dirty="0"/>
              <a:t>средствах массовой </a:t>
            </a:r>
            <a:r>
              <a:rPr lang="ru-RU" sz="1400" dirty="0" smtClean="0"/>
              <a:t>информации, в том числе на </a:t>
            </a:r>
            <a:r>
              <a:rPr lang="ru-RU" sz="1400" dirty="0" err="1" smtClean="0"/>
              <a:t>интернет-ресурсе</a:t>
            </a:r>
            <a:endParaRPr lang="ru-RU" sz="1400" dirty="0" smtClean="0">
              <a:solidFill>
                <a:schemeClr val="dk1"/>
              </a:solidFill>
            </a:endParaRPr>
          </a:p>
        </p:txBody>
      </p:sp>
      <p:grpSp>
        <p:nvGrpSpPr>
          <p:cNvPr id="33" name="Group 481"/>
          <p:cNvGrpSpPr/>
          <p:nvPr/>
        </p:nvGrpSpPr>
        <p:grpSpPr>
          <a:xfrm>
            <a:off x="387567" y="3304636"/>
            <a:ext cx="369888" cy="369888"/>
            <a:chOff x="-1550988" y="2722564"/>
            <a:chExt cx="369888" cy="369888"/>
          </a:xfrm>
        </p:grpSpPr>
        <p:sp>
          <p:nvSpPr>
            <p:cNvPr id="34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64641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4" name="Object 15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2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54" name="Object 1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" name="Rectangle 15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altLang="ru-RU" dirty="0">
                <a:latin typeface="Arial" pitchFamily="34" charset="0"/>
                <a:cs typeface="Arial" pitchFamily="34" charset="0"/>
              </a:rPr>
              <a:t>Информация о качестве предоставляемых регулируемых услуг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14324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4" name="Google Shape;478;p43"/>
          <p:cNvSpPr/>
          <p:nvPr/>
        </p:nvSpPr>
        <p:spPr>
          <a:xfrm>
            <a:off x="1903164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1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22" name="Google Shape;506;p43"/>
          <p:cNvSpPr txBox="1"/>
          <p:nvPr/>
        </p:nvSpPr>
        <p:spPr>
          <a:xfrm>
            <a:off x="395919" y="2111156"/>
            <a:ext cx="1838050" cy="110799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>
                <a:solidFill>
                  <a:schemeClr val="tx1"/>
                </a:solidFill>
                <a:sym typeface="Open Sans"/>
              </a:rPr>
              <a:t>ГОСТы и СанПиНы: регламентируют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состав и качество питьевой воды, параметры теплоносителя, температурные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режимы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82" name="Google Shape;506;p43"/>
          <p:cNvSpPr txBox="1"/>
          <p:nvPr/>
        </p:nvSpPr>
        <p:spPr>
          <a:xfrm>
            <a:off x="2381608" y="2123043"/>
            <a:ext cx="1573289" cy="73866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равила технической эксплуатации: для инженерных систем и оборудования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314324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9" name="Google Shape;478;p43"/>
          <p:cNvSpPr/>
          <p:nvPr/>
        </p:nvSpPr>
        <p:spPr>
          <a:xfrm>
            <a:off x="1903164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6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01" name="Google Shape;506;p43"/>
          <p:cNvSpPr txBox="1"/>
          <p:nvPr/>
        </p:nvSpPr>
        <p:spPr>
          <a:xfrm>
            <a:off x="433033" y="3919016"/>
            <a:ext cx="1688741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Использование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энергоэффективного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оборудования и технологий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2" name="Google Shape;506;p43"/>
          <p:cNvSpPr txBox="1"/>
          <p:nvPr/>
        </p:nvSpPr>
        <p:spPr>
          <a:xfrm>
            <a:off x="2269413" y="3919016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Контроль потерь воды и тепла на всех этапах доставки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421798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08" name="Google Shape;478;p43"/>
          <p:cNvSpPr/>
          <p:nvPr/>
        </p:nvSpPr>
        <p:spPr>
          <a:xfrm>
            <a:off x="580682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2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0" name="Google Shape;506;p43"/>
          <p:cNvSpPr txBox="1"/>
          <p:nvPr/>
        </p:nvSpPr>
        <p:spPr>
          <a:xfrm>
            <a:off x="433344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Лабораторный анализ воды: проводится регулярно для проверки на соответствие нормам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1" name="Google Shape;506;p43"/>
          <p:cNvSpPr txBox="1"/>
          <p:nvPr/>
        </p:nvSpPr>
        <p:spPr>
          <a:xfrm>
            <a:off x="616982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Мониторинг температур и давления в теплосетях и на выходе из источников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а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421798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16" name="Google Shape;478;p43"/>
          <p:cNvSpPr/>
          <p:nvPr/>
        </p:nvSpPr>
        <p:spPr>
          <a:xfrm>
            <a:off x="580682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5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8" name="Google Shape;506;p43"/>
          <p:cNvSpPr txBox="1"/>
          <p:nvPr/>
        </p:nvSpPr>
        <p:spPr>
          <a:xfrm>
            <a:off x="4333440" y="3936287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Оперативное реагирование на жалобы и обращения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9" name="Google Shape;506;p43"/>
          <p:cNvSpPr txBox="1"/>
          <p:nvPr/>
        </p:nvSpPr>
        <p:spPr>
          <a:xfrm>
            <a:off x="6169820" y="3936287"/>
            <a:ext cx="1688741" cy="1292662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роведение разъяснительной работы и предоставление прозрачной информации об услугах.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812323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24" name="Google Shape;478;p43"/>
          <p:cNvSpPr/>
          <p:nvPr/>
        </p:nvSpPr>
        <p:spPr>
          <a:xfrm>
            <a:off x="971207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3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26" name="Google Shape;506;p43"/>
          <p:cNvSpPr txBox="1"/>
          <p:nvPr/>
        </p:nvSpPr>
        <p:spPr>
          <a:xfrm>
            <a:off x="8235433" y="2111156"/>
            <a:ext cx="1836380" cy="110799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Регулярное техническое обслуживание и ремонт сетей. Модернизация оборудования, замена изношенных труб и теплообменников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27" name="Google Shape;506;p43"/>
          <p:cNvSpPr txBox="1"/>
          <p:nvPr/>
        </p:nvSpPr>
        <p:spPr>
          <a:xfrm>
            <a:off x="10071813" y="2156661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Автоматизация систем управления и диспетчеризация. 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812323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32" name="Google Shape;478;p43"/>
          <p:cNvSpPr/>
          <p:nvPr/>
        </p:nvSpPr>
        <p:spPr>
          <a:xfrm>
            <a:off x="971207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4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34" name="Google Shape;506;p43"/>
          <p:cNvSpPr txBox="1"/>
          <p:nvPr/>
        </p:nvSpPr>
        <p:spPr>
          <a:xfrm>
            <a:off x="8235433" y="3888599"/>
            <a:ext cx="1629499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>
                <a:solidFill>
                  <a:schemeClr val="tx1"/>
                </a:solidFill>
                <a:sym typeface="Open Sans"/>
              </a:rPr>
              <a:t>Подготовка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и сертификация специалистов, работающих на объектах водо- и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оснабжения. Аттестация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35" name="Google Shape;506;p43"/>
          <p:cNvSpPr txBox="1"/>
          <p:nvPr/>
        </p:nvSpPr>
        <p:spPr>
          <a:xfrm>
            <a:off x="10071813" y="3888599"/>
            <a:ext cx="1688741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ериодическое повышение квалификации является обязательным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для ИТР,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мастеров и операторов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cxnSp>
        <p:nvCxnSpPr>
          <p:cNvPr id="140" name="Straight Connector 139"/>
          <p:cNvCxnSpPr>
            <a:stCxn id="5" idx="3"/>
            <a:endCxn id="107" idx="1"/>
          </p:cNvCxnSpPr>
          <p:nvPr/>
        </p:nvCxnSpPr>
        <p:spPr>
          <a:xfrm>
            <a:off x="4070349" y="254572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2" name="Straight Connector 141"/>
          <p:cNvCxnSpPr>
            <a:stCxn id="107" idx="3"/>
            <a:endCxn id="123" idx="1"/>
          </p:cNvCxnSpPr>
          <p:nvPr/>
        </p:nvCxnSpPr>
        <p:spPr>
          <a:xfrm>
            <a:off x="7974013" y="254572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4" name="Straight Connector 143"/>
          <p:cNvCxnSpPr>
            <a:stCxn id="131" idx="1"/>
            <a:endCxn id="115" idx="3"/>
          </p:cNvCxnSpPr>
          <p:nvPr/>
        </p:nvCxnSpPr>
        <p:spPr>
          <a:xfrm flipH="1">
            <a:off x="7974013" y="435138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6" name="Straight Connector 145"/>
          <p:cNvCxnSpPr>
            <a:stCxn id="115" idx="1"/>
            <a:endCxn id="98" idx="3"/>
          </p:cNvCxnSpPr>
          <p:nvPr/>
        </p:nvCxnSpPr>
        <p:spPr>
          <a:xfrm flipH="1">
            <a:off x="4070349" y="435138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8" name="Straight Connector 147"/>
          <p:cNvCxnSpPr/>
          <p:nvPr/>
        </p:nvCxnSpPr>
        <p:spPr>
          <a:xfrm>
            <a:off x="11554182" y="3308350"/>
            <a:ext cx="0" cy="280409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sp>
        <p:nvSpPr>
          <p:cNvPr id="48" name="Rectangle 47"/>
          <p:cNvSpPr/>
          <p:nvPr/>
        </p:nvSpPr>
        <p:spPr>
          <a:xfrm>
            <a:off x="0" y="5558844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Регулируемые услуги оказываются с учетом требований к качеству, установленных государственными органами в пределах их компетенции</a:t>
            </a:r>
          </a:p>
        </p:txBody>
      </p:sp>
      <p:sp>
        <p:nvSpPr>
          <p:cNvPr id="50" name="Freeform 223"/>
          <p:cNvSpPr>
            <a:spLocks noEditPoints="1"/>
          </p:cNvSpPr>
          <p:nvPr/>
        </p:nvSpPr>
        <p:spPr bwMode="auto">
          <a:xfrm>
            <a:off x="3540549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223"/>
          <p:cNvSpPr>
            <a:spLocks noEditPoints="1"/>
          </p:cNvSpPr>
          <p:nvPr/>
        </p:nvSpPr>
        <p:spPr bwMode="auto">
          <a:xfrm>
            <a:off x="744421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223"/>
          <p:cNvSpPr>
            <a:spLocks noEditPoints="1"/>
          </p:cNvSpPr>
          <p:nvPr/>
        </p:nvSpPr>
        <p:spPr bwMode="auto">
          <a:xfrm>
            <a:off x="1134946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223"/>
          <p:cNvSpPr>
            <a:spLocks noEditPoints="1"/>
          </p:cNvSpPr>
          <p:nvPr/>
        </p:nvSpPr>
        <p:spPr bwMode="auto">
          <a:xfrm>
            <a:off x="3540549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223"/>
          <p:cNvSpPr>
            <a:spLocks noEditPoints="1"/>
          </p:cNvSpPr>
          <p:nvPr/>
        </p:nvSpPr>
        <p:spPr bwMode="auto">
          <a:xfrm>
            <a:off x="7444213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223"/>
          <p:cNvSpPr>
            <a:spLocks noEditPoints="1"/>
          </p:cNvSpPr>
          <p:nvPr/>
        </p:nvSpPr>
        <p:spPr bwMode="auto">
          <a:xfrm>
            <a:off x="11349463" y="486081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TextBox 60"/>
          <p:cNvSpPr txBox="1"/>
          <p:nvPr/>
        </p:nvSpPr>
        <p:spPr>
          <a:xfrm>
            <a:off x="370358" y="1149983"/>
            <a:ext cx="7767587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/>
              <a:t>Качество предоставляемых услуг обеспечивается: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611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solidFill>
                  <a:schemeClr val="accent1"/>
                </a:solidFill>
                <a:sym typeface="Open Sans"/>
              </a:rPr>
              <a:t>Соблюдение нормативных требований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518502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Контроль качества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29224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Надёжность и состояние инфраструктуры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344137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Квалификация персонала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461611" y="3707531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Работа с потребителями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35154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Энергосбережение и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ресурсоэффективность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endParaRPr lang="ru-RU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304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ORyl.nSg2QMSGFH9PC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c06wN.GEd8n7ZgumBB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qUc1fpQa_hDO3bSv8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ayRfDUbHSgL2cErPVs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0iuf7468dNCTxmqjAY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bHigGcq_zUwLE2fEAr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EJCmG12frvm_Byum5rM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BRB8dZzFk0DAa0RQNR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gn3LbNPykKSLhv8i5G7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yWJvuYha0IBIPsfXfOC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zlqVmUt_bjsF.L9pG9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HUpZwI9.JpxbW8p0S6Q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Yd4Mqd8JhgKftcCCk5A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i3mDmYvLN3w.ANikkq2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6EGihn.4LXfXGdwzM4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34uvehgWB0uXocJzEf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xdE4jgfiBZTfXjB5U8W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dEPs9Hp9bZKO8IiXRC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uc4vo7353_9.GhtK6f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OTCfew4SAlNHfT93g5S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VYNZPJS.QEb_617ZS30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V2MeIpVQWcyGkwT_C7a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ew723Tgr7RMg7mGNjlz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jdgfvQNwhh4SOE_1n_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LWb6iCBvSVbq_L8k7Kc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Ou_t3_W7H.D66WEtkC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VLY0rDZdo6Hz9n9dfF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4GgFWNwTAbn7bg9MJQD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Y.Rbxdsz2J_ZjimrSqG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UnSHX4aqZOr9qg651u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bSbyulMNPSoB2Kb0nC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6IZAggvefxRxYg4mNU6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8CPwFD3GRzt.5oK2NWl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10" ma:contentTypeDescription="Создание документа." ma:contentTypeScope="" ma:versionID="30c03a8721c12eacc24a4a6a7491c3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06531CA-FA80-4FC1-8E6B-983EC72D86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47B0B24-AEBA-4DFF-94F2-E519378CA232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7D9BF692-53D4-4DEC-8282-250BB917088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B7BC26CC-B2F1-4088-B519-35393224FB84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A5EE0E1E-0B15-4740-95FC-5FF232746345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7524</TotalTime>
  <Words>2200</Words>
  <Application>Microsoft Office PowerPoint</Application>
  <PresentationFormat>Широкоэкранный</PresentationFormat>
  <Paragraphs>552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2" baseType="lpstr">
      <vt:lpstr>Arial</vt:lpstr>
      <vt:lpstr>Arial (Основной текст)</vt:lpstr>
      <vt:lpstr>Calibri</vt:lpstr>
      <vt:lpstr>Montserrat</vt:lpstr>
      <vt:lpstr>Open Sans</vt:lpstr>
      <vt:lpstr>Segoe UI Semibold</vt:lpstr>
      <vt:lpstr>Times New Roman</vt:lpstr>
      <vt:lpstr>Wingdings</vt:lpstr>
      <vt:lpstr>ERG</vt:lpstr>
      <vt:lpstr>Слайд think-cell</vt:lpstr>
      <vt:lpstr>Презентация PowerPoint</vt:lpstr>
      <vt:lpstr>ЕЭК:  Общая информация о субъекте естественной монополии</vt:lpstr>
      <vt:lpstr>ЕЭК: Информация об исполнении утвержденной инвестиционной программы за 2024 год</vt:lpstr>
      <vt:lpstr>ЕЭК: Информация о постатейном исполнении утвержденной тарифной сметы по производству тепловой энергии за 2024 год</vt:lpstr>
      <vt:lpstr>ЕЭК: Отчет о постатейном исполнении утвержденной тарифной сметы по производству тепловой энергии за 2024 год</vt:lpstr>
      <vt:lpstr>ЕЭК: Информация о соблюдении показателей качества и надежности регулируемых услуг и достижении показателей эффективности деятельности за 2024 год</vt:lpstr>
      <vt:lpstr>ЕЭК: Информация об основных финансово-экономических показателях и об объемах предоставленных услуг по производству тепловой энергии за 2024 год</vt:lpstr>
      <vt:lpstr>ЕЭК: Информация о проводимой работе с потребителями регулируемых услуг</vt:lpstr>
      <vt:lpstr>Информация о качестве предоставляемых регулируемых услуг</vt:lpstr>
      <vt:lpstr> ЕЭК: Перспективы деятельности (планах развития), в том числе возможных изменениях тарифов                                                 </vt:lpstr>
      <vt:lpstr>Информация об оказываемой услуге – подача воды по распределительным сетям (малая мощность)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Donchenko</dc:creator>
  <cp:lastModifiedBy>Yelena Kochetkova</cp:lastModifiedBy>
  <cp:revision>1376</cp:revision>
  <cp:lastPrinted>2024-04-24T05:02:58Z</cp:lastPrinted>
  <dcterms:created xsi:type="dcterms:W3CDTF">2017-11-25T12:09:27Z</dcterms:created>
  <dcterms:modified xsi:type="dcterms:W3CDTF">2025-04-11T11:5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